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9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4.xml" ContentType="application/vnd.openxmlformats-officedocument.drawingml.chartshape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5.xml" ContentType="application/vnd.openxmlformats-officedocument.drawingml.chartshapes+xml"/>
  <Override PartName="/ppt/notesSlides/notesSlide12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6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58" r:id="rId2"/>
    <p:sldId id="265" r:id="rId3"/>
    <p:sldId id="419" r:id="rId4"/>
    <p:sldId id="413" r:id="rId5"/>
    <p:sldId id="414" r:id="rId6"/>
    <p:sldId id="286" r:id="rId7"/>
    <p:sldId id="335" r:id="rId8"/>
    <p:sldId id="338" r:id="rId9"/>
    <p:sldId id="418" r:id="rId10"/>
    <p:sldId id="340" r:id="rId11"/>
    <p:sldId id="339" r:id="rId12"/>
    <p:sldId id="417" r:id="rId13"/>
    <p:sldId id="416" r:id="rId14"/>
    <p:sldId id="334" r:id="rId15"/>
    <p:sldId id="275" r:id="rId16"/>
    <p:sldId id="278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66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C0F5F51-27F7-4508-B98E-B56A0EE205A2}" v="161" dt="2022-04-01T17:10:29.3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4841" autoAdjust="0"/>
  </p:normalViewPr>
  <p:slideViewPr>
    <p:cSldViewPr snapToGrid="0">
      <p:cViewPr varScale="1">
        <p:scale>
          <a:sx n="97" d="100"/>
          <a:sy n="97" d="100"/>
        </p:scale>
        <p:origin x="105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customXml" Target="../customXml/item2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Relationship Id="rId27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nnek, Adrianna" userId="963582f5-32ec-4fd4-aa78-ba6469fe37a8" providerId="ADAL" clId="{7C0F5F51-27F7-4508-B98E-B56A0EE205A2}"/>
    <pc:docChg chg="undo custSel addSld delSld modSld sldOrd">
      <pc:chgData name="Sonnek, Adrianna" userId="963582f5-32ec-4fd4-aa78-ba6469fe37a8" providerId="ADAL" clId="{7C0F5F51-27F7-4508-B98E-B56A0EE205A2}" dt="2022-04-01T17:28:27.324" v="4923" actId="20577"/>
      <pc:docMkLst>
        <pc:docMk/>
      </pc:docMkLst>
      <pc:sldChg chg="addSp modSp mod">
        <pc:chgData name="Sonnek, Adrianna" userId="963582f5-32ec-4fd4-aa78-ba6469fe37a8" providerId="ADAL" clId="{7C0F5F51-27F7-4508-B98E-B56A0EE205A2}" dt="2022-03-31T19:25:18.139" v="1586" actId="20577"/>
        <pc:sldMkLst>
          <pc:docMk/>
          <pc:sldMk cId="1841668401" sldId="258"/>
        </pc:sldMkLst>
        <pc:spChg chg="mod">
          <ac:chgData name="Sonnek, Adrianna" userId="963582f5-32ec-4fd4-aa78-ba6469fe37a8" providerId="ADAL" clId="{7C0F5F51-27F7-4508-B98E-B56A0EE205A2}" dt="2022-03-31T16:41:10.673" v="58" actId="20577"/>
          <ac:spMkLst>
            <pc:docMk/>
            <pc:sldMk cId="1841668401" sldId="258"/>
            <ac:spMk id="2" creationId="{00000000-0000-0000-0000-000000000000}"/>
          </ac:spMkLst>
        </pc:spChg>
        <pc:spChg chg="add mod">
          <ac:chgData name="Sonnek, Adrianna" userId="963582f5-32ec-4fd4-aa78-ba6469fe37a8" providerId="ADAL" clId="{7C0F5F51-27F7-4508-B98E-B56A0EE205A2}" dt="2022-03-31T19:25:18.139" v="1586" actId="20577"/>
          <ac:spMkLst>
            <pc:docMk/>
            <pc:sldMk cId="1841668401" sldId="258"/>
            <ac:spMk id="3" creationId="{13E91F57-B61A-4A56-862E-C04D95FD1ABA}"/>
          </ac:spMkLst>
        </pc:spChg>
        <pc:spChg chg="mod">
          <ac:chgData name="Sonnek, Adrianna" userId="963582f5-32ec-4fd4-aa78-ba6469fe37a8" providerId="ADAL" clId="{7C0F5F51-27F7-4508-B98E-B56A0EE205A2}" dt="2022-03-31T19:09:42.322" v="1564" actId="1076"/>
          <ac:spMkLst>
            <pc:docMk/>
            <pc:sldMk cId="1841668401" sldId="258"/>
            <ac:spMk id="8" creationId="{7703D06A-8890-4727-8270-B7C0B98FFE8A}"/>
          </ac:spMkLst>
        </pc:spChg>
      </pc:sldChg>
      <pc:sldChg chg="addSp modSp mod">
        <pc:chgData name="Sonnek, Adrianna" userId="963582f5-32ec-4fd4-aa78-ba6469fe37a8" providerId="ADAL" clId="{7C0F5F51-27F7-4508-B98E-B56A0EE205A2}" dt="2022-04-01T16:06:18.936" v="4507" actId="1076"/>
        <pc:sldMkLst>
          <pc:docMk/>
          <pc:sldMk cId="3558371427" sldId="265"/>
        </pc:sldMkLst>
        <pc:spChg chg="mod">
          <ac:chgData name="Sonnek, Adrianna" userId="963582f5-32ec-4fd4-aa78-ba6469fe37a8" providerId="ADAL" clId="{7C0F5F51-27F7-4508-B98E-B56A0EE205A2}" dt="2022-04-01T15:55:20.935" v="4163" actId="20577"/>
          <ac:spMkLst>
            <pc:docMk/>
            <pc:sldMk cId="3558371427" sldId="265"/>
            <ac:spMk id="6" creationId="{A1A42BEB-8A33-9B47-9357-5E125376C6CA}"/>
          </ac:spMkLst>
        </pc:spChg>
        <pc:spChg chg="mod">
          <ac:chgData name="Sonnek, Adrianna" userId="963582f5-32ec-4fd4-aa78-ba6469fe37a8" providerId="ADAL" clId="{7C0F5F51-27F7-4508-B98E-B56A0EE205A2}" dt="2022-04-01T16:06:18.936" v="4507" actId="1076"/>
          <ac:spMkLst>
            <pc:docMk/>
            <pc:sldMk cId="3558371427" sldId="265"/>
            <ac:spMk id="7" creationId="{A9EC832C-694E-914F-A829-172236CFE0EF}"/>
          </ac:spMkLst>
        </pc:spChg>
        <pc:picChg chg="add mod">
          <ac:chgData name="Sonnek, Adrianna" userId="963582f5-32ec-4fd4-aa78-ba6469fe37a8" providerId="ADAL" clId="{7C0F5F51-27F7-4508-B98E-B56A0EE205A2}" dt="2022-04-01T16:06:12.788" v="4506" actId="1076"/>
          <ac:picMkLst>
            <pc:docMk/>
            <pc:sldMk cId="3558371427" sldId="265"/>
            <ac:picMk id="4" creationId="{97EDAE19-C7A1-4AAF-B9A9-F6022C5F4005}"/>
          </ac:picMkLst>
        </pc:picChg>
      </pc:sldChg>
      <pc:sldChg chg="addSp delSp modSp mod">
        <pc:chgData name="Sonnek, Adrianna" userId="963582f5-32ec-4fd4-aa78-ba6469fe37a8" providerId="ADAL" clId="{7C0F5F51-27F7-4508-B98E-B56A0EE205A2}" dt="2022-03-31T19:39:59.245" v="1765" actId="14100"/>
        <pc:sldMkLst>
          <pc:docMk/>
          <pc:sldMk cId="2945456964" sldId="275"/>
        </pc:sldMkLst>
        <pc:spChg chg="mod">
          <ac:chgData name="Sonnek, Adrianna" userId="963582f5-32ec-4fd4-aa78-ba6469fe37a8" providerId="ADAL" clId="{7C0F5F51-27F7-4508-B98E-B56A0EE205A2}" dt="2022-03-31T19:39:13.237" v="1760" actId="255"/>
          <ac:spMkLst>
            <pc:docMk/>
            <pc:sldMk cId="2945456964" sldId="275"/>
            <ac:spMk id="2" creationId="{77D69EAC-0FB1-3D43-9BFA-41026F4675EA}"/>
          </ac:spMkLst>
        </pc:spChg>
        <pc:spChg chg="mod">
          <ac:chgData name="Sonnek, Adrianna" userId="963582f5-32ec-4fd4-aa78-ba6469fe37a8" providerId="ADAL" clId="{7C0F5F51-27F7-4508-B98E-B56A0EE205A2}" dt="2022-03-31T19:38:50.754" v="1753" actId="404"/>
          <ac:spMkLst>
            <pc:docMk/>
            <pc:sldMk cId="2945456964" sldId="275"/>
            <ac:spMk id="4" creationId="{6924E661-EC68-E84E-98E7-1126BF22D631}"/>
          </ac:spMkLst>
        </pc:spChg>
        <pc:spChg chg="add del">
          <ac:chgData name="Sonnek, Adrianna" userId="963582f5-32ec-4fd4-aa78-ba6469fe37a8" providerId="ADAL" clId="{7C0F5F51-27F7-4508-B98E-B56A0EE205A2}" dt="2022-03-31T19:32:45.155" v="1592" actId="478"/>
          <ac:spMkLst>
            <pc:docMk/>
            <pc:sldMk cId="2945456964" sldId="275"/>
            <ac:spMk id="5" creationId="{0FEB28F2-942B-489C-BE6C-FAD24B5888B1}"/>
          </ac:spMkLst>
        </pc:spChg>
        <pc:picChg chg="add del mod">
          <ac:chgData name="Sonnek, Adrianna" userId="963582f5-32ec-4fd4-aa78-ba6469fe37a8" providerId="ADAL" clId="{7C0F5F51-27F7-4508-B98E-B56A0EE205A2}" dt="2022-03-31T19:36:21.087" v="1715" actId="478"/>
          <ac:picMkLst>
            <pc:docMk/>
            <pc:sldMk cId="2945456964" sldId="275"/>
            <ac:picMk id="7" creationId="{349E335E-C847-47EC-9364-D33F39F8C45F}"/>
          </ac:picMkLst>
        </pc:picChg>
        <pc:picChg chg="add mod">
          <ac:chgData name="Sonnek, Adrianna" userId="963582f5-32ec-4fd4-aa78-ba6469fe37a8" providerId="ADAL" clId="{7C0F5F51-27F7-4508-B98E-B56A0EE205A2}" dt="2022-03-31T19:39:02.380" v="1757" actId="14100"/>
          <ac:picMkLst>
            <pc:docMk/>
            <pc:sldMk cId="2945456964" sldId="275"/>
            <ac:picMk id="9" creationId="{B674DD0A-8962-4FD5-998D-9B1225896AAF}"/>
          </ac:picMkLst>
        </pc:picChg>
        <pc:picChg chg="add mod">
          <ac:chgData name="Sonnek, Adrianna" userId="963582f5-32ec-4fd4-aa78-ba6469fe37a8" providerId="ADAL" clId="{7C0F5F51-27F7-4508-B98E-B56A0EE205A2}" dt="2022-03-31T19:39:59.245" v="1765" actId="14100"/>
          <ac:picMkLst>
            <pc:docMk/>
            <pc:sldMk cId="2945456964" sldId="275"/>
            <ac:picMk id="11" creationId="{D8978A38-A2CE-4570-AE46-1C6EF600DE1E}"/>
          </ac:picMkLst>
        </pc:picChg>
      </pc:sldChg>
      <pc:sldChg chg="del">
        <pc:chgData name="Sonnek, Adrianna" userId="963582f5-32ec-4fd4-aa78-ba6469fe37a8" providerId="ADAL" clId="{7C0F5F51-27F7-4508-B98E-B56A0EE205A2}" dt="2022-03-31T19:28:27.776" v="1590" actId="47"/>
        <pc:sldMkLst>
          <pc:docMk/>
          <pc:sldMk cId="2938321517" sldId="276"/>
        </pc:sldMkLst>
      </pc:sldChg>
      <pc:sldChg chg="del">
        <pc:chgData name="Sonnek, Adrianna" userId="963582f5-32ec-4fd4-aa78-ba6469fe37a8" providerId="ADAL" clId="{7C0F5F51-27F7-4508-B98E-B56A0EE205A2}" dt="2022-03-31T18:07:55.162" v="250" actId="2696"/>
        <pc:sldMkLst>
          <pc:docMk/>
          <pc:sldMk cId="153904861" sldId="282"/>
        </pc:sldMkLst>
      </pc:sldChg>
      <pc:sldChg chg="del">
        <pc:chgData name="Sonnek, Adrianna" userId="963582f5-32ec-4fd4-aa78-ba6469fe37a8" providerId="ADAL" clId="{7C0F5F51-27F7-4508-B98E-B56A0EE205A2}" dt="2022-03-31T20:05:03.846" v="1770" actId="47"/>
        <pc:sldMkLst>
          <pc:docMk/>
          <pc:sldMk cId="2987662714" sldId="286"/>
        </pc:sldMkLst>
      </pc:sldChg>
      <pc:sldChg chg="del">
        <pc:chgData name="Sonnek, Adrianna" userId="963582f5-32ec-4fd4-aa78-ba6469fe37a8" providerId="ADAL" clId="{7C0F5F51-27F7-4508-B98E-B56A0EE205A2}" dt="2022-03-31T19:18:55.119" v="1575" actId="47"/>
        <pc:sldMkLst>
          <pc:docMk/>
          <pc:sldMk cId="1497524930" sldId="287"/>
        </pc:sldMkLst>
      </pc:sldChg>
      <pc:sldChg chg="del">
        <pc:chgData name="Sonnek, Adrianna" userId="963582f5-32ec-4fd4-aa78-ba6469fe37a8" providerId="ADAL" clId="{7C0F5F51-27F7-4508-B98E-B56A0EE205A2}" dt="2022-03-31T19:18:56.896" v="1576" actId="47"/>
        <pc:sldMkLst>
          <pc:docMk/>
          <pc:sldMk cId="1316194194" sldId="290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1378802614" sldId="291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401426954" sldId="292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3592319105" sldId="293"/>
        </pc:sldMkLst>
      </pc:sldChg>
      <pc:sldChg chg="del">
        <pc:chgData name="Sonnek, Adrianna" userId="963582f5-32ec-4fd4-aa78-ba6469fe37a8" providerId="ADAL" clId="{7C0F5F51-27F7-4508-B98E-B56A0EE205A2}" dt="2022-03-31T19:08:13.597" v="1549" actId="2696"/>
        <pc:sldMkLst>
          <pc:docMk/>
          <pc:sldMk cId="1292469052" sldId="299"/>
        </pc:sldMkLst>
      </pc:sldChg>
      <pc:sldChg chg="del">
        <pc:chgData name="Sonnek, Adrianna" userId="963582f5-32ec-4fd4-aa78-ba6469fe37a8" providerId="ADAL" clId="{7C0F5F51-27F7-4508-B98E-B56A0EE205A2}" dt="2022-03-31T19:08:18.952" v="1550" actId="2696"/>
        <pc:sldMkLst>
          <pc:docMk/>
          <pc:sldMk cId="1050327279" sldId="300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2419462113" sldId="306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2593128566" sldId="308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1161991824" sldId="309"/>
        </pc:sldMkLst>
      </pc:sldChg>
      <pc:sldChg chg="del">
        <pc:chgData name="Sonnek, Adrianna" userId="963582f5-32ec-4fd4-aa78-ba6469fe37a8" providerId="ADAL" clId="{7C0F5F51-27F7-4508-B98E-B56A0EE205A2}" dt="2022-03-31T19:25:48.451" v="1587" actId="47"/>
        <pc:sldMkLst>
          <pc:docMk/>
          <pc:sldMk cId="470931593" sldId="310"/>
        </pc:sldMkLst>
      </pc:sldChg>
      <pc:sldChg chg="del">
        <pc:chgData name="Sonnek, Adrianna" userId="963582f5-32ec-4fd4-aa78-ba6469fe37a8" providerId="ADAL" clId="{7C0F5F51-27F7-4508-B98E-B56A0EE205A2}" dt="2022-03-31T19:25:48.451" v="1587" actId="47"/>
        <pc:sldMkLst>
          <pc:docMk/>
          <pc:sldMk cId="3063566704" sldId="311"/>
        </pc:sldMkLst>
      </pc:sldChg>
      <pc:sldChg chg="modSp del mod">
        <pc:chgData name="Sonnek, Adrianna" userId="963582f5-32ec-4fd4-aa78-ba6469fe37a8" providerId="ADAL" clId="{7C0F5F51-27F7-4508-B98E-B56A0EE205A2}" dt="2022-03-31T21:31:40.545" v="3463" actId="47"/>
        <pc:sldMkLst>
          <pc:docMk/>
          <pc:sldMk cId="3918962571" sldId="312"/>
        </pc:sldMkLst>
        <pc:spChg chg="mod">
          <ac:chgData name="Sonnek, Adrianna" userId="963582f5-32ec-4fd4-aa78-ba6469fe37a8" providerId="ADAL" clId="{7C0F5F51-27F7-4508-B98E-B56A0EE205A2}" dt="2022-03-31T19:55:58.371" v="1769" actId="1076"/>
          <ac:spMkLst>
            <pc:docMk/>
            <pc:sldMk cId="3918962571" sldId="312"/>
            <ac:spMk id="7" creationId="{04F10CC7-35D5-574B-828B-27CD077ED7CA}"/>
          </ac:spMkLst>
        </pc:spChg>
        <pc:graphicFrameChg chg="mod">
          <ac:chgData name="Sonnek, Adrianna" userId="963582f5-32ec-4fd4-aa78-ba6469fe37a8" providerId="ADAL" clId="{7C0F5F51-27F7-4508-B98E-B56A0EE205A2}" dt="2022-03-31T19:55:53.850" v="1768"/>
          <ac:graphicFrameMkLst>
            <pc:docMk/>
            <pc:sldMk cId="3918962571" sldId="312"/>
            <ac:graphicFrameMk id="24" creationId="{B092B78D-62E9-4A1B-9622-4D7E7B0BA7CC}"/>
          </ac:graphicFrameMkLst>
        </pc:graphicFrameChg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3752726641" sldId="313"/>
        </pc:sldMkLst>
      </pc:sldChg>
      <pc:sldChg chg="del">
        <pc:chgData name="Sonnek, Adrianna" userId="963582f5-32ec-4fd4-aa78-ba6469fe37a8" providerId="ADAL" clId="{7C0F5F51-27F7-4508-B98E-B56A0EE205A2}" dt="2022-03-31T19:25:48.451" v="1587" actId="47"/>
        <pc:sldMkLst>
          <pc:docMk/>
          <pc:sldMk cId="3851592023" sldId="314"/>
        </pc:sldMkLst>
      </pc:sldChg>
      <pc:sldChg chg="del">
        <pc:chgData name="Sonnek, Adrianna" userId="963582f5-32ec-4fd4-aa78-ba6469fe37a8" providerId="ADAL" clId="{7C0F5F51-27F7-4508-B98E-B56A0EE205A2}" dt="2022-03-31T19:25:54.646" v="1588" actId="47"/>
        <pc:sldMkLst>
          <pc:docMk/>
          <pc:sldMk cId="3873815161" sldId="315"/>
        </pc:sldMkLst>
      </pc:sldChg>
      <pc:sldChg chg="del">
        <pc:chgData name="Sonnek, Adrianna" userId="963582f5-32ec-4fd4-aa78-ba6469fe37a8" providerId="ADAL" clId="{7C0F5F51-27F7-4508-B98E-B56A0EE205A2}" dt="2022-03-31T19:25:57.834" v="1589" actId="47"/>
        <pc:sldMkLst>
          <pc:docMk/>
          <pc:sldMk cId="4183299079" sldId="316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3870615754" sldId="317"/>
        </pc:sldMkLst>
      </pc:sldChg>
      <pc:sldChg chg="del">
        <pc:chgData name="Sonnek, Adrianna" userId="963582f5-32ec-4fd4-aa78-ba6469fe37a8" providerId="ADAL" clId="{7C0F5F51-27F7-4508-B98E-B56A0EE205A2}" dt="2022-03-31T19:06:12.935" v="1543" actId="47"/>
        <pc:sldMkLst>
          <pc:docMk/>
          <pc:sldMk cId="3488770834" sldId="318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1834693209" sldId="319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3212698267" sldId="321"/>
        </pc:sldMkLst>
      </pc:sldChg>
      <pc:sldChg chg="addSp delSp modSp mod">
        <pc:chgData name="Sonnek, Adrianna" userId="963582f5-32ec-4fd4-aa78-ba6469fe37a8" providerId="ADAL" clId="{7C0F5F51-27F7-4508-B98E-B56A0EE205A2}" dt="2022-04-01T17:28:27.324" v="4923" actId="20577"/>
        <pc:sldMkLst>
          <pc:docMk/>
          <pc:sldMk cId="2815901798" sldId="334"/>
        </pc:sldMkLst>
        <pc:spChg chg="mod">
          <ac:chgData name="Sonnek, Adrianna" userId="963582f5-32ec-4fd4-aa78-ba6469fe37a8" providerId="ADAL" clId="{7C0F5F51-27F7-4508-B98E-B56A0EE205A2}" dt="2022-03-31T21:54:16.404" v="3801" actId="20577"/>
          <ac:spMkLst>
            <pc:docMk/>
            <pc:sldMk cId="2815901798" sldId="334"/>
            <ac:spMk id="2" creationId="{5FE38DC5-B5EE-7548-990C-5872699219A7}"/>
          </ac:spMkLst>
        </pc:spChg>
        <pc:spChg chg="add mod">
          <ac:chgData name="Sonnek, Adrianna" userId="963582f5-32ec-4fd4-aa78-ba6469fe37a8" providerId="ADAL" clId="{7C0F5F51-27F7-4508-B98E-B56A0EE205A2}" dt="2022-03-31T21:53:41.821" v="3722"/>
          <ac:spMkLst>
            <pc:docMk/>
            <pc:sldMk cId="2815901798" sldId="334"/>
            <ac:spMk id="6" creationId="{CF284C9E-6EDC-4ABC-A37E-869B10F9D4A7}"/>
          </ac:spMkLst>
        </pc:spChg>
        <pc:spChg chg="add mod">
          <ac:chgData name="Sonnek, Adrianna" userId="963582f5-32ec-4fd4-aa78-ba6469fe37a8" providerId="ADAL" clId="{7C0F5F51-27F7-4508-B98E-B56A0EE205A2}" dt="2022-04-01T17:13:32.631" v="4918" actId="14100"/>
          <ac:spMkLst>
            <pc:docMk/>
            <pc:sldMk cId="2815901798" sldId="334"/>
            <ac:spMk id="9" creationId="{8F318A33-D83D-4E50-A063-AD5175AD963F}"/>
          </ac:spMkLst>
        </pc:spChg>
        <pc:spChg chg="add mod">
          <ac:chgData name="Sonnek, Adrianna" userId="963582f5-32ec-4fd4-aa78-ba6469fe37a8" providerId="ADAL" clId="{7C0F5F51-27F7-4508-B98E-B56A0EE205A2}" dt="2022-04-01T17:28:27.324" v="4923" actId="20577"/>
          <ac:spMkLst>
            <pc:docMk/>
            <pc:sldMk cId="2815901798" sldId="334"/>
            <ac:spMk id="12" creationId="{82E8D68C-8020-4BA1-A305-A8CBB5C3F071}"/>
          </ac:spMkLst>
        </pc:spChg>
        <pc:graphicFrameChg chg="mod">
          <ac:chgData name="Sonnek, Adrianna" userId="963582f5-32ec-4fd4-aa78-ba6469fe37a8" providerId="ADAL" clId="{7C0F5F51-27F7-4508-B98E-B56A0EE205A2}" dt="2022-03-31T21:55:04" v="3806" actId="14100"/>
          <ac:graphicFrameMkLst>
            <pc:docMk/>
            <pc:sldMk cId="2815901798" sldId="334"/>
            <ac:graphicFrameMk id="11" creationId="{671C1DFB-36F3-4FF2-B6F4-383FED474CED}"/>
          </ac:graphicFrameMkLst>
        </pc:graphicFrameChg>
        <pc:graphicFrameChg chg="add mod">
          <ac:chgData name="Sonnek, Adrianna" userId="963582f5-32ec-4fd4-aa78-ba6469fe37a8" providerId="ADAL" clId="{7C0F5F51-27F7-4508-B98E-B56A0EE205A2}" dt="2022-04-01T17:10:32.904" v="4523" actId="1076"/>
          <ac:graphicFrameMkLst>
            <pc:docMk/>
            <pc:sldMk cId="2815901798" sldId="334"/>
            <ac:graphicFrameMk id="13" creationId="{26D872A9-8BB3-433C-902C-9B872E47C348}"/>
          </ac:graphicFrameMkLst>
        </pc:graphicFrameChg>
        <pc:picChg chg="add mod ord">
          <ac:chgData name="Sonnek, Adrianna" userId="963582f5-32ec-4fd4-aa78-ba6469fe37a8" providerId="ADAL" clId="{7C0F5F51-27F7-4508-B98E-B56A0EE205A2}" dt="2022-04-01T17:10:24.629" v="4520" actId="1076"/>
          <ac:picMkLst>
            <pc:docMk/>
            <pc:sldMk cId="2815901798" sldId="334"/>
            <ac:picMk id="4" creationId="{F85D90EC-3DE2-4F0D-A6E5-D812EE0D8340}"/>
          </ac:picMkLst>
        </pc:picChg>
        <pc:picChg chg="add del mod">
          <ac:chgData name="Sonnek, Adrianna" userId="963582f5-32ec-4fd4-aa78-ba6469fe37a8" providerId="ADAL" clId="{7C0F5F51-27F7-4508-B98E-B56A0EE205A2}" dt="2022-03-31T21:55:53.816" v="3810" actId="478"/>
          <ac:picMkLst>
            <pc:docMk/>
            <pc:sldMk cId="2815901798" sldId="334"/>
            <ac:picMk id="10" creationId="{191D7A98-1232-47A9-8C15-5C56C663F00C}"/>
          </ac:picMkLst>
        </pc:picChg>
      </pc:sldChg>
      <pc:sldChg chg="addSp modSp mod modNotesTx">
        <pc:chgData name="Sonnek, Adrianna" userId="963582f5-32ec-4fd4-aa78-ba6469fe37a8" providerId="ADAL" clId="{7C0F5F51-27F7-4508-B98E-B56A0EE205A2}" dt="2022-04-01T15:20:03.651" v="4121" actId="27918"/>
        <pc:sldMkLst>
          <pc:docMk/>
          <pc:sldMk cId="3068989248" sldId="335"/>
        </pc:sldMkLst>
        <pc:spChg chg="mod">
          <ac:chgData name="Sonnek, Adrianna" userId="963582f5-32ec-4fd4-aa78-ba6469fe37a8" providerId="ADAL" clId="{7C0F5F51-27F7-4508-B98E-B56A0EE205A2}" dt="2022-03-31T20:16:51.482" v="1853" actId="1076"/>
          <ac:spMkLst>
            <pc:docMk/>
            <pc:sldMk cId="3068989248" sldId="335"/>
            <ac:spMk id="2" creationId="{5FE38DC5-B5EE-7548-990C-5872699219A7}"/>
          </ac:spMkLst>
        </pc:spChg>
        <pc:spChg chg="add mod">
          <ac:chgData name="Sonnek, Adrianna" userId="963582f5-32ec-4fd4-aa78-ba6469fe37a8" providerId="ADAL" clId="{7C0F5F51-27F7-4508-B98E-B56A0EE205A2}" dt="2022-03-31T20:16:56.419" v="1854" actId="1076"/>
          <ac:spMkLst>
            <pc:docMk/>
            <pc:sldMk cId="3068989248" sldId="335"/>
            <ac:spMk id="6" creationId="{8A1C1BF0-DEC8-443A-862B-CAAEB758C746}"/>
          </ac:spMkLst>
        </pc:spChg>
        <pc:spChg chg="add mod">
          <ac:chgData name="Sonnek, Adrianna" userId="963582f5-32ec-4fd4-aa78-ba6469fe37a8" providerId="ADAL" clId="{7C0F5F51-27F7-4508-B98E-B56A0EE205A2}" dt="2022-03-31T20:23:05.124" v="2116" actId="20577"/>
          <ac:spMkLst>
            <pc:docMk/>
            <pc:sldMk cId="3068989248" sldId="335"/>
            <ac:spMk id="10" creationId="{D3BB3BCB-4951-4771-A918-C02D9AFDA100}"/>
          </ac:spMkLst>
        </pc:spChg>
        <pc:spChg chg="add mod">
          <ac:chgData name="Sonnek, Adrianna" userId="963582f5-32ec-4fd4-aa78-ba6469fe37a8" providerId="ADAL" clId="{7C0F5F51-27F7-4508-B98E-B56A0EE205A2}" dt="2022-03-31T21:31:14.054" v="3459"/>
          <ac:spMkLst>
            <pc:docMk/>
            <pc:sldMk cId="3068989248" sldId="335"/>
            <ac:spMk id="12" creationId="{1C732F0F-49C0-495B-9EEE-5CFB6A7D2B56}"/>
          </ac:spMkLst>
        </pc:spChg>
        <pc:graphicFrameChg chg="add mod">
          <ac:chgData name="Sonnek, Adrianna" userId="963582f5-32ec-4fd4-aa78-ba6469fe37a8" providerId="ADAL" clId="{7C0F5F51-27F7-4508-B98E-B56A0EE205A2}" dt="2022-03-31T20:16:02.363" v="1846"/>
          <ac:graphicFrameMkLst>
            <pc:docMk/>
            <pc:sldMk cId="3068989248" sldId="335"/>
            <ac:graphicFrameMk id="9" creationId="{0F7330C4-91B6-4A9D-87BE-21185B78EBB1}"/>
          </ac:graphicFrameMkLst>
        </pc:graphicFrameChg>
        <pc:graphicFrameChg chg="mod">
          <ac:chgData name="Sonnek, Adrianna" userId="963582f5-32ec-4fd4-aa78-ba6469fe37a8" providerId="ADAL" clId="{7C0F5F51-27F7-4508-B98E-B56A0EE205A2}" dt="2022-03-31T20:13:00.698" v="1830" actId="1076"/>
          <ac:graphicFrameMkLst>
            <pc:docMk/>
            <pc:sldMk cId="3068989248" sldId="335"/>
            <ac:graphicFrameMk id="11" creationId="{671C1DFB-36F3-4FF2-B6F4-383FED474CED}"/>
          </ac:graphicFrameMkLst>
        </pc:graphicFrameChg>
      </pc:sldChg>
      <pc:sldChg chg="modSp del mod">
        <pc:chgData name="Sonnek, Adrianna" userId="963582f5-32ec-4fd4-aa78-ba6469fe37a8" providerId="ADAL" clId="{7C0F5F51-27F7-4508-B98E-B56A0EE205A2}" dt="2022-03-31T20:28:24.556" v="2224" actId="47"/>
        <pc:sldMkLst>
          <pc:docMk/>
          <pc:sldMk cId="688901998" sldId="336"/>
        </pc:sldMkLst>
        <pc:spChg chg="mod">
          <ac:chgData name="Sonnek, Adrianna" userId="963582f5-32ec-4fd4-aa78-ba6469fe37a8" providerId="ADAL" clId="{7C0F5F51-27F7-4508-B98E-B56A0EE205A2}" dt="2022-03-31T20:08:08.823" v="1783" actId="20577"/>
          <ac:spMkLst>
            <pc:docMk/>
            <pc:sldMk cId="688901998" sldId="336"/>
            <ac:spMk id="2" creationId="{5FE38DC5-B5EE-7548-990C-5872699219A7}"/>
          </ac:spMkLst>
        </pc:spChg>
      </pc:sldChg>
      <pc:sldChg chg="addSp delSp modSp mod">
        <pc:chgData name="Sonnek, Adrianna" userId="963582f5-32ec-4fd4-aa78-ba6469fe37a8" providerId="ADAL" clId="{7C0F5F51-27F7-4508-B98E-B56A0EE205A2}" dt="2022-03-31T21:48:45.639" v="3704" actId="14100"/>
        <pc:sldMkLst>
          <pc:docMk/>
          <pc:sldMk cId="2992541562" sldId="338"/>
        </pc:sldMkLst>
        <pc:spChg chg="del mod">
          <ac:chgData name="Sonnek, Adrianna" userId="963582f5-32ec-4fd4-aa78-ba6469fe37a8" providerId="ADAL" clId="{7C0F5F51-27F7-4508-B98E-B56A0EE205A2}" dt="2022-03-31T21:44:04.007" v="3476" actId="478"/>
          <ac:spMkLst>
            <pc:docMk/>
            <pc:sldMk cId="2992541562" sldId="338"/>
            <ac:spMk id="2" creationId="{5FE38DC5-B5EE-7548-990C-5872699219A7}"/>
          </ac:spMkLst>
        </pc:spChg>
        <pc:spChg chg="add mod">
          <ac:chgData name="Sonnek, Adrianna" userId="963582f5-32ec-4fd4-aa78-ba6469fe37a8" providerId="ADAL" clId="{7C0F5F51-27F7-4508-B98E-B56A0EE205A2}" dt="2022-03-31T21:44:32.179" v="3504" actId="1076"/>
          <ac:spMkLst>
            <pc:docMk/>
            <pc:sldMk cId="2992541562" sldId="338"/>
            <ac:spMk id="4" creationId="{B60CE057-4AF5-4C6A-B221-2B60D052EA0F}"/>
          </ac:spMkLst>
        </pc:spChg>
        <pc:spChg chg="add mod ord">
          <ac:chgData name="Sonnek, Adrianna" userId="963582f5-32ec-4fd4-aa78-ba6469fe37a8" providerId="ADAL" clId="{7C0F5F51-27F7-4508-B98E-B56A0EE205A2}" dt="2022-03-31T21:46:54.474" v="3522" actId="14100"/>
          <ac:spMkLst>
            <pc:docMk/>
            <pc:sldMk cId="2992541562" sldId="338"/>
            <ac:spMk id="12" creationId="{9C3E3BB3-2973-4A24-A05D-2529610B477A}"/>
          </ac:spMkLst>
        </pc:spChg>
        <pc:spChg chg="add mod">
          <ac:chgData name="Sonnek, Adrianna" userId="963582f5-32ec-4fd4-aa78-ba6469fe37a8" providerId="ADAL" clId="{7C0F5F51-27F7-4508-B98E-B56A0EE205A2}" dt="2022-03-31T21:48:45.639" v="3704" actId="14100"/>
          <ac:spMkLst>
            <pc:docMk/>
            <pc:sldMk cId="2992541562" sldId="338"/>
            <ac:spMk id="14" creationId="{0C10AEB1-B9F2-46F9-86BE-DBEC6440F2FF}"/>
          </ac:spMkLst>
        </pc:spChg>
        <pc:graphicFrameChg chg="add mod">
          <ac:chgData name="Sonnek, Adrianna" userId="963582f5-32ec-4fd4-aa78-ba6469fe37a8" providerId="ADAL" clId="{7C0F5F51-27F7-4508-B98E-B56A0EE205A2}" dt="2022-03-31T21:45:11.988" v="3507" actId="1076"/>
          <ac:graphicFrameMkLst>
            <pc:docMk/>
            <pc:sldMk cId="2992541562" sldId="338"/>
            <ac:graphicFrameMk id="10" creationId="{5991D7AB-EC90-49F4-9F8E-2429D5EDA4CB}"/>
          </ac:graphicFrameMkLst>
        </pc:graphicFrameChg>
        <pc:graphicFrameChg chg="mod">
          <ac:chgData name="Sonnek, Adrianna" userId="963582f5-32ec-4fd4-aa78-ba6469fe37a8" providerId="ADAL" clId="{7C0F5F51-27F7-4508-B98E-B56A0EE205A2}" dt="2022-03-31T21:44:34.161" v="3505" actId="14100"/>
          <ac:graphicFrameMkLst>
            <pc:docMk/>
            <pc:sldMk cId="2992541562" sldId="338"/>
            <ac:graphicFrameMk id="11" creationId="{671C1DFB-36F3-4FF2-B6F4-383FED474CED}"/>
          </ac:graphicFrameMkLst>
        </pc:graphicFrameChg>
        <pc:picChg chg="add mod ord">
          <ac:chgData name="Sonnek, Adrianna" userId="963582f5-32ec-4fd4-aa78-ba6469fe37a8" providerId="ADAL" clId="{7C0F5F51-27F7-4508-B98E-B56A0EE205A2}" dt="2022-03-31T21:46:50.553" v="3521" actId="171"/>
          <ac:picMkLst>
            <pc:docMk/>
            <pc:sldMk cId="2992541562" sldId="338"/>
            <ac:picMk id="13" creationId="{620B31B1-06BF-451D-857C-F9169A6D93BD}"/>
          </ac:picMkLst>
        </pc:picChg>
      </pc:sldChg>
      <pc:sldChg chg="addSp delSp modSp mod">
        <pc:chgData name="Sonnek, Adrianna" userId="963582f5-32ec-4fd4-aa78-ba6469fe37a8" providerId="ADAL" clId="{7C0F5F51-27F7-4508-B98E-B56A0EE205A2}" dt="2022-03-31T22:06:11.832" v="4098" actId="1076"/>
        <pc:sldMkLst>
          <pc:docMk/>
          <pc:sldMk cId="835095592" sldId="339"/>
        </pc:sldMkLst>
        <pc:spChg chg="del mod">
          <ac:chgData name="Sonnek, Adrianna" userId="963582f5-32ec-4fd4-aa78-ba6469fe37a8" providerId="ADAL" clId="{7C0F5F51-27F7-4508-B98E-B56A0EE205A2}" dt="2022-03-31T22:05:26.225" v="4040" actId="478"/>
          <ac:spMkLst>
            <pc:docMk/>
            <pc:sldMk cId="835095592" sldId="339"/>
            <ac:spMk id="2" creationId="{5FE38DC5-B5EE-7548-990C-5872699219A7}"/>
          </ac:spMkLst>
        </pc:spChg>
        <pc:spChg chg="add del mod">
          <ac:chgData name="Sonnek, Adrianna" userId="963582f5-32ec-4fd4-aa78-ba6469fe37a8" providerId="ADAL" clId="{7C0F5F51-27F7-4508-B98E-B56A0EE205A2}" dt="2022-03-31T22:05:32.099" v="4042" actId="478"/>
          <ac:spMkLst>
            <pc:docMk/>
            <pc:sldMk cId="835095592" sldId="339"/>
            <ac:spMk id="4" creationId="{14246300-1C1A-4E41-94EF-935EC54202BB}"/>
          </ac:spMkLst>
        </pc:spChg>
        <pc:spChg chg="del">
          <ac:chgData name="Sonnek, Adrianna" userId="963582f5-32ec-4fd4-aa78-ba6469fe37a8" providerId="ADAL" clId="{7C0F5F51-27F7-4508-B98E-B56A0EE205A2}" dt="2022-03-31T22:02:45.480" v="4000" actId="478"/>
          <ac:spMkLst>
            <pc:docMk/>
            <pc:sldMk cId="835095592" sldId="339"/>
            <ac:spMk id="6" creationId="{BC2EFB6B-A749-4862-872A-E39FDDF94632}"/>
          </ac:spMkLst>
        </pc:spChg>
        <pc:spChg chg="add mod">
          <ac:chgData name="Sonnek, Adrianna" userId="963582f5-32ec-4fd4-aa78-ba6469fe37a8" providerId="ADAL" clId="{7C0F5F51-27F7-4508-B98E-B56A0EE205A2}" dt="2022-03-31T22:05:45.015" v="4094" actId="20577"/>
          <ac:spMkLst>
            <pc:docMk/>
            <pc:sldMk cId="835095592" sldId="339"/>
            <ac:spMk id="10" creationId="{1D163346-BDC8-47BF-8A96-85A53B7A1C25}"/>
          </ac:spMkLst>
        </pc:spChg>
        <pc:graphicFrameChg chg="add mod">
          <ac:chgData name="Sonnek, Adrianna" userId="963582f5-32ec-4fd4-aa78-ba6469fe37a8" providerId="ADAL" clId="{7C0F5F51-27F7-4508-B98E-B56A0EE205A2}" dt="2022-03-31T22:06:11.832" v="4098" actId="1076"/>
          <ac:graphicFrameMkLst>
            <pc:docMk/>
            <pc:sldMk cId="835095592" sldId="339"/>
            <ac:graphicFrameMk id="9" creationId="{D809E61B-7E4B-4428-BF79-A39F5AFF90BE}"/>
          </ac:graphicFrameMkLst>
        </pc:graphicFrameChg>
        <pc:graphicFrameChg chg="del">
          <ac:chgData name="Sonnek, Adrianna" userId="963582f5-32ec-4fd4-aa78-ba6469fe37a8" providerId="ADAL" clId="{7C0F5F51-27F7-4508-B98E-B56A0EE205A2}" dt="2022-03-31T22:02:28.038" v="3996" actId="478"/>
          <ac:graphicFrameMkLst>
            <pc:docMk/>
            <pc:sldMk cId="835095592" sldId="339"/>
            <ac:graphicFrameMk id="11" creationId="{671C1DFB-36F3-4FF2-B6F4-383FED474CED}"/>
          </ac:graphicFrameMkLst>
        </pc:graphicFrameChg>
      </pc:sldChg>
      <pc:sldChg chg="addSp modSp mod">
        <pc:chgData name="Sonnek, Adrianna" userId="963582f5-32ec-4fd4-aa78-ba6469fe37a8" providerId="ADAL" clId="{7C0F5F51-27F7-4508-B98E-B56A0EE205A2}" dt="2022-03-31T21:31:18.996" v="3460"/>
        <pc:sldMkLst>
          <pc:docMk/>
          <pc:sldMk cId="1597898720" sldId="340"/>
        </pc:sldMkLst>
        <pc:spChg chg="mod">
          <ac:chgData name="Sonnek, Adrianna" userId="963582f5-32ec-4fd4-aa78-ba6469fe37a8" providerId="ADAL" clId="{7C0F5F51-27F7-4508-B98E-B56A0EE205A2}" dt="2022-03-31T21:20:45.837" v="3065" actId="1076"/>
          <ac:spMkLst>
            <pc:docMk/>
            <pc:sldMk cId="1597898720" sldId="340"/>
            <ac:spMk id="5" creationId="{59136CF8-2B71-477C-9282-ECC97AD9AF97}"/>
          </ac:spMkLst>
        </pc:spChg>
        <pc:spChg chg="add mod">
          <ac:chgData name="Sonnek, Adrianna" userId="963582f5-32ec-4fd4-aa78-ba6469fe37a8" providerId="ADAL" clId="{7C0F5F51-27F7-4508-B98E-B56A0EE205A2}" dt="2022-03-31T21:31:18.996" v="3460"/>
          <ac:spMkLst>
            <pc:docMk/>
            <pc:sldMk cId="1597898720" sldId="340"/>
            <ac:spMk id="10" creationId="{39E93A38-3973-474D-988C-1F82B12CACFC}"/>
          </ac:spMkLst>
        </pc:spChg>
        <pc:picChg chg="mod">
          <ac:chgData name="Sonnek, Adrianna" userId="963582f5-32ec-4fd4-aa78-ba6469fe37a8" providerId="ADAL" clId="{7C0F5F51-27F7-4508-B98E-B56A0EE205A2}" dt="2022-03-31T21:20:37.736" v="3063" actId="1076"/>
          <ac:picMkLst>
            <pc:docMk/>
            <pc:sldMk cId="1597898720" sldId="340"/>
            <ac:picMk id="4" creationId="{956BF4B1-AB67-4411-B378-79BB6822B1DC}"/>
          </ac:picMkLst>
        </pc:picChg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1054767380" sldId="353"/>
        </pc:sldMkLst>
      </pc:sldChg>
      <pc:sldChg chg="del">
        <pc:chgData name="Sonnek, Adrianna" userId="963582f5-32ec-4fd4-aa78-ba6469fe37a8" providerId="ADAL" clId="{7C0F5F51-27F7-4508-B98E-B56A0EE205A2}" dt="2022-03-31T21:31:40.545" v="3463" actId="47"/>
        <pc:sldMkLst>
          <pc:docMk/>
          <pc:sldMk cId="2837071320" sldId="412"/>
        </pc:sldMkLst>
      </pc:sldChg>
      <pc:sldChg chg="modSp mod">
        <pc:chgData name="Sonnek, Adrianna" userId="963582f5-32ec-4fd4-aa78-ba6469fe37a8" providerId="ADAL" clId="{7C0F5F51-27F7-4508-B98E-B56A0EE205A2}" dt="2022-03-31T19:51:26.907" v="1767" actId="113"/>
        <pc:sldMkLst>
          <pc:docMk/>
          <pc:sldMk cId="3646768422" sldId="413"/>
        </pc:sldMkLst>
        <pc:spChg chg="mod">
          <ac:chgData name="Sonnek, Adrianna" userId="963582f5-32ec-4fd4-aa78-ba6469fe37a8" providerId="ADAL" clId="{7C0F5F51-27F7-4508-B98E-B56A0EE205A2}" dt="2022-03-31T18:46:24.572" v="309" actId="20577"/>
          <ac:spMkLst>
            <pc:docMk/>
            <pc:sldMk cId="3646768422" sldId="413"/>
            <ac:spMk id="6" creationId="{A1A42BEB-8A33-9B47-9357-5E125376C6CA}"/>
          </ac:spMkLst>
        </pc:spChg>
        <pc:spChg chg="mod">
          <ac:chgData name="Sonnek, Adrianna" userId="963582f5-32ec-4fd4-aa78-ba6469fe37a8" providerId="ADAL" clId="{7C0F5F51-27F7-4508-B98E-B56A0EE205A2}" dt="2022-03-31T19:51:26.907" v="1767" actId="113"/>
          <ac:spMkLst>
            <pc:docMk/>
            <pc:sldMk cId="3646768422" sldId="413"/>
            <ac:spMk id="7" creationId="{A9EC832C-694E-914F-A829-172236CFE0EF}"/>
          </ac:spMkLst>
        </pc:spChg>
      </pc:sldChg>
      <pc:sldChg chg="addSp modSp mod ord">
        <pc:chgData name="Sonnek, Adrianna" userId="963582f5-32ec-4fd4-aa78-ba6469fe37a8" providerId="ADAL" clId="{7C0F5F51-27F7-4508-B98E-B56A0EE205A2}" dt="2022-03-31T21:31:02.121" v="3458" actId="20577"/>
        <pc:sldMkLst>
          <pc:docMk/>
          <pc:sldMk cId="795316579" sldId="414"/>
        </pc:sldMkLst>
        <pc:spChg chg="mod">
          <ac:chgData name="Sonnek, Adrianna" userId="963582f5-32ec-4fd4-aa78-ba6469fe37a8" providerId="ADAL" clId="{7C0F5F51-27F7-4508-B98E-B56A0EE205A2}" dt="2022-03-31T18:59:27.385" v="1219" actId="20577"/>
          <ac:spMkLst>
            <pc:docMk/>
            <pc:sldMk cId="795316579" sldId="414"/>
            <ac:spMk id="2" creationId="{5FE38DC5-B5EE-7548-990C-5872699219A7}"/>
          </ac:spMkLst>
        </pc:spChg>
        <pc:spChg chg="mod">
          <ac:chgData name="Sonnek, Adrianna" userId="963582f5-32ec-4fd4-aa78-ba6469fe37a8" providerId="ADAL" clId="{7C0F5F51-27F7-4508-B98E-B56A0EE205A2}" dt="2022-03-31T21:31:02.121" v="3458" actId="20577"/>
          <ac:spMkLst>
            <pc:docMk/>
            <pc:sldMk cId="795316579" sldId="414"/>
            <ac:spMk id="3" creationId="{B9ABFE0B-B190-E644-B2F2-0CFC48DB308C}"/>
          </ac:spMkLst>
        </pc:spChg>
        <pc:spChg chg="mod">
          <ac:chgData name="Sonnek, Adrianna" userId="963582f5-32ec-4fd4-aa78-ba6469fe37a8" providerId="ADAL" clId="{7C0F5F51-27F7-4508-B98E-B56A0EE205A2}" dt="2022-03-31T18:56:11.979" v="1152" actId="1076"/>
          <ac:spMkLst>
            <pc:docMk/>
            <pc:sldMk cId="795316579" sldId="414"/>
            <ac:spMk id="10" creationId="{EA5DE65A-8FFB-4306-A3A5-3F454CBD95BE}"/>
          </ac:spMkLst>
        </pc:spChg>
        <pc:spChg chg="mod">
          <ac:chgData name="Sonnek, Adrianna" userId="963582f5-32ec-4fd4-aa78-ba6469fe37a8" providerId="ADAL" clId="{7C0F5F51-27F7-4508-B98E-B56A0EE205A2}" dt="2022-03-31T20:24:46.962" v="2223" actId="20577"/>
          <ac:spMkLst>
            <pc:docMk/>
            <pc:sldMk cId="795316579" sldId="414"/>
            <ac:spMk id="11" creationId="{C24821F3-D4FB-4B41-B638-4FA48DFF6320}"/>
          </ac:spMkLst>
        </pc:spChg>
        <pc:spChg chg="add mod">
          <ac:chgData name="Sonnek, Adrianna" userId="963582f5-32ec-4fd4-aa78-ba6469fe37a8" providerId="ADAL" clId="{7C0F5F51-27F7-4508-B98E-B56A0EE205A2}" dt="2022-03-31T21:30:42.577" v="3457" actId="1076"/>
          <ac:spMkLst>
            <pc:docMk/>
            <pc:sldMk cId="795316579" sldId="414"/>
            <ac:spMk id="12" creationId="{B6C38C5E-6908-4A57-8431-0334361C9D16}"/>
          </ac:spMkLst>
        </pc:spChg>
        <pc:graphicFrameChg chg="mod">
          <ac:chgData name="Sonnek, Adrianna" userId="963582f5-32ec-4fd4-aa78-ba6469fe37a8" providerId="ADAL" clId="{7C0F5F51-27F7-4508-B98E-B56A0EE205A2}" dt="2022-03-31T18:56:08.320" v="1151" actId="1076"/>
          <ac:graphicFrameMkLst>
            <pc:docMk/>
            <pc:sldMk cId="795316579" sldId="414"/>
            <ac:graphicFrameMk id="9" creationId="{DF906B18-DBE3-4704-89AF-1B43CCEC376D}"/>
          </ac:graphicFrameMkLst>
        </pc:graphicFrameChg>
      </pc:sldChg>
      <pc:sldChg chg="addSp delSp modSp del mod">
        <pc:chgData name="Sonnek, Adrianna" userId="963582f5-32ec-4fd4-aa78-ba6469fe37a8" providerId="ADAL" clId="{7C0F5F51-27F7-4508-B98E-B56A0EE205A2}" dt="2022-04-01T15:19:28.522" v="4115" actId="2696"/>
        <pc:sldMkLst>
          <pc:docMk/>
          <pc:sldMk cId="2308606833" sldId="415"/>
        </pc:sldMkLst>
        <pc:spChg chg="mod">
          <ac:chgData name="Sonnek, Adrianna" userId="963582f5-32ec-4fd4-aa78-ba6469fe37a8" providerId="ADAL" clId="{7C0F5F51-27F7-4508-B98E-B56A0EE205A2}" dt="2022-03-31T20:29:22.447" v="2269" actId="20577"/>
          <ac:spMkLst>
            <pc:docMk/>
            <pc:sldMk cId="2308606833" sldId="415"/>
            <ac:spMk id="2" creationId="{5FE38DC5-B5EE-7548-990C-5872699219A7}"/>
          </ac:spMkLst>
        </pc:spChg>
        <pc:spChg chg="mod">
          <ac:chgData name="Sonnek, Adrianna" userId="963582f5-32ec-4fd4-aa78-ba6469fe37a8" providerId="ADAL" clId="{7C0F5F51-27F7-4508-B98E-B56A0EE205A2}" dt="2022-04-01T15:17:46.505" v="4100" actId="1076"/>
          <ac:spMkLst>
            <pc:docMk/>
            <pc:sldMk cId="2308606833" sldId="415"/>
            <ac:spMk id="3" creationId="{B9ABFE0B-B190-E644-B2F2-0CFC48DB308C}"/>
          </ac:spMkLst>
        </pc:spChg>
        <pc:spChg chg="del">
          <ac:chgData name="Sonnek, Adrianna" userId="963582f5-32ec-4fd4-aa78-ba6469fe37a8" providerId="ADAL" clId="{7C0F5F51-27F7-4508-B98E-B56A0EE205A2}" dt="2022-03-31T20:30:42.016" v="2276" actId="478"/>
          <ac:spMkLst>
            <pc:docMk/>
            <pc:sldMk cId="2308606833" sldId="415"/>
            <ac:spMk id="10" creationId="{EA5DE65A-8FFB-4306-A3A5-3F454CBD95BE}"/>
          </ac:spMkLst>
        </pc:spChg>
        <pc:spChg chg="del mod">
          <ac:chgData name="Sonnek, Adrianna" userId="963582f5-32ec-4fd4-aa78-ba6469fe37a8" providerId="ADAL" clId="{7C0F5F51-27F7-4508-B98E-B56A0EE205A2}" dt="2022-03-31T20:30:46.605" v="2279" actId="478"/>
          <ac:spMkLst>
            <pc:docMk/>
            <pc:sldMk cId="2308606833" sldId="415"/>
            <ac:spMk id="11" creationId="{C24821F3-D4FB-4B41-B638-4FA48DFF6320}"/>
          </ac:spMkLst>
        </pc:spChg>
        <pc:graphicFrameChg chg="del">
          <ac:chgData name="Sonnek, Adrianna" userId="963582f5-32ec-4fd4-aa78-ba6469fe37a8" providerId="ADAL" clId="{7C0F5F51-27F7-4508-B98E-B56A0EE205A2}" dt="2022-03-31T20:30:44.375" v="2277" actId="478"/>
          <ac:graphicFrameMkLst>
            <pc:docMk/>
            <pc:sldMk cId="2308606833" sldId="415"/>
            <ac:graphicFrameMk id="9" creationId="{DF906B18-DBE3-4704-89AF-1B43CCEC376D}"/>
          </ac:graphicFrameMkLst>
        </pc:graphicFrameChg>
        <pc:picChg chg="add mod">
          <ac:chgData name="Sonnek, Adrianna" userId="963582f5-32ec-4fd4-aa78-ba6469fe37a8" providerId="ADAL" clId="{7C0F5F51-27F7-4508-B98E-B56A0EE205A2}" dt="2022-04-01T15:17:50.385" v="4101" actId="1076"/>
          <ac:picMkLst>
            <pc:docMk/>
            <pc:sldMk cId="2308606833" sldId="415"/>
            <ac:picMk id="6" creationId="{B7350686-D1A7-42BB-B1ED-2AA912D8EE0A}"/>
          </ac:picMkLst>
        </pc:picChg>
        <pc:picChg chg="del">
          <ac:chgData name="Sonnek, Adrianna" userId="963582f5-32ec-4fd4-aa78-ba6469fe37a8" providerId="ADAL" clId="{7C0F5F51-27F7-4508-B98E-B56A0EE205A2}" dt="2022-03-31T20:30:25.512" v="2271" actId="478"/>
          <ac:picMkLst>
            <pc:docMk/>
            <pc:sldMk cId="2308606833" sldId="415"/>
            <ac:picMk id="19" creationId="{38EEC0A2-BBCF-4FFD-B226-D7EE3037C0DA}"/>
          </ac:picMkLst>
        </pc:picChg>
      </pc:sldChg>
      <pc:sldChg chg="addSp delSp modSp add mod modNotesTx">
        <pc:chgData name="Sonnek, Adrianna" userId="963582f5-32ec-4fd4-aa78-ba6469fe37a8" providerId="ADAL" clId="{7C0F5F51-27F7-4508-B98E-B56A0EE205A2}" dt="2022-03-31T22:00:10.707" v="3994" actId="1076"/>
        <pc:sldMkLst>
          <pc:docMk/>
          <pc:sldMk cId="2147991246" sldId="416"/>
        </pc:sldMkLst>
        <pc:spChg chg="mod">
          <ac:chgData name="Sonnek, Adrianna" userId="963582f5-32ec-4fd4-aa78-ba6469fe37a8" providerId="ADAL" clId="{7C0F5F51-27F7-4508-B98E-B56A0EE205A2}" dt="2022-03-31T21:05:01.301" v="2722" actId="20577"/>
          <ac:spMkLst>
            <pc:docMk/>
            <pc:sldMk cId="2147991246" sldId="416"/>
            <ac:spMk id="2" creationId="{5FE38DC5-B5EE-7548-990C-5872699219A7}"/>
          </ac:spMkLst>
        </pc:spChg>
        <pc:spChg chg="mod">
          <ac:chgData name="Sonnek, Adrianna" userId="963582f5-32ec-4fd4-aa78-ba6469fe37a8" providerId="ADAL" clId="{7C0F5F51-27F7-4508-B98E-B56A0EE205A2}" dt="2022-03-31T22:00:10.707" v="3994" actId="1076"/>
          <ac:spMkLst>
            <pc:docMk/>
            <pc:sldMk cId="2147991246" sldId="416"/>
            <ac:spMk id="5" creationId="{59136CF8-2B71-477C-9282-ECC97AD9AF97}"/>
          </ac:spMkLst>
        </pc:spChg>
        <pc:spChg chg="mod">
          <ac:chgData name="Sonnek, Adrianna" userId="963582f5-32ec-4fd4-aa78-ba6469fe37a8" providerId="ADAL" clId="{7C0F5F51-27F7-4508-B98E-B56A0EE205A2}" dt="2022-03-31T21:59:25.657" v="3979" actId="1076"/>
          <ac:spMkLst>
            <pc:docMk/>
            <pc:sldMk cId="2147991246" sldId="416"/>
            <ac:spMk id="9" creationId="{6654BA3C-9042-4672-975B-9960EFDBEFED}"/>
          </ac:spMkLst>
        </pc:spChg>
        <pc:spChg chg="add mod">
          <ac:chgData name="Sonnek, Adrianna" userId="963582f5-32ec-4fd4-aa78-ba6469fe37a8" providerId="ADAL" clId="{7C0F5F51-27F7-4508-B98E-B56A0EE205A2}" dt="2022-03-31T21:59:48.042" v="3986" actId="1076"/>
          <ac:spMkLst>
            <pc:docMk/>
            <pc:sldMk cId="2147991246" sldId="416"/>
            <ac:spMk id="15" creationId="{45880A55-2F8C-418F-AB57-DEDEDD47EA5B}"/>
          </ac:spMkLst>
        </pc:spChg>
        <pc:spChg chg="add mod">
          <ac:chgData name="Sonnek, Adrianna" userId="963582f5-32ec-4fd4-aa78-ba6469fe37a8" providerId="ADAL" clId="{7C0F5F51-27F7-4508-B98E-B56A0EE205A2}" dt="2022-03-31T21:31:25.384" v="3462"/>
          <ac:spMkLst>
            <pc:docMk/>
            <pc:sldMk cId="2147991246" sldId="416"/>
            <ac:spMk id="19" creationId="{0E01A5E0-5FB7-4920-860F-557F8ECE01FC}"/>
          </ac:spMkLst>
        </pc:spChg>
        <pc:graphicFrameChg chg="del">
          <ac:chgData name="Sonnek, Adrianna" userId="963582f5-32ec-4fd4-aa78-ba6469fe37a8" providerId="ADAL" clId="{7C0F5F51-27F7-4508-B98E-B56A0EE205A2}" dt="2022-03-31T21:07:32.124" v="2862" actId="478"/>
          <ac:graphicFrameMkLst>
            <pc:docMk/>
            <pc:sldMk cId="2147991246" sldId="416"/>
            <ac:graphicFrameMk id="11" creationId="{671C1DFB-36F3-4FF2-B6F4-383FED474CED}"/>
          </ac:graphicFrameMkLst>
        </pc:graphicFrameChg>
        <pc:graphicFrameChg chg="add mod">
          <ac:chgData name="Sonnek, Adrianna" userId="963582f5-32ec-4fd4-aa78-ba6469fe37a8" providerId="ADAL" clId="{7C0F5F51-27F7-4508-B98E-B56A0EE205A2}" dt="2022-03-31T21:16:53.597" v="2901"/>
          <ac:graphicFrameMkLst>
            <pc:docMk/>
            <pc:sldMk cId="2147991246" sldId="416"/>
            <ac:graphicFrameMk id="13" creationId="{BF7D4ACF-DB1B-4863-A406-01C54718D6D6}"/>
          </ac:graphicFrameMkLst>
        </pc:graphicFrameChg>
        <pc:graphicFrameChg chg="add mod">
          <ac:chgData name="Sonnek, Adrianna" userId="963582f5-32ec-4fd4-aa78-ba6469fe37a8" providerId="ADAL" clId="{7C0F5F51-27F7-4508-B98E-B56A0EE205A2}" dt="2022-03-31T21:15:46.693" v="2884" actId="571"/>
          <ac:graphicFrameMkLst>
            <pc:docMk/>
            <pc:sldMk cId="2147991246" sldId="416"/>
            <ac:graphicFrameMk id="14" creationId="{CAF84D71-5C22-49E0-A7E4-4B8E0A1A94CE}"/>
          </ac:graphicFrameMkLst>
        </pc:graphicFrameChg>
        <pc:graphicFrameChg chg="add mod">
          <ac:chgData name="Sonnek, Adrianna" userId="963582f5-32ec-4fd4-aa78-ba6469fe37a8" providerId="ADAL" clId="{7C0F5F51-27F7-4508-B98E-B56A0EE205A2}" dt="2022-03-31T21:59:16.903" v="3975" actId="1076"/>
          <ac:graphicFrameMkLst>
            <pc:docMk/>
            <pc:sldMk cId="2147991246" sldId="416"/>
            <ac:graphicFrameMk id="16" creationId="{FC048644-E2C0-41FB-95A6-3F9C9BB6A774}"/>
          </ac:graphicFrameMkLst>
        </pc:graphicFrameChg>
        <pc:picChg chg="del">
          <ac:chgData name="Sonnek, Adrianna" userId="963582f5-32ec-4fd4-aa78-ba6469fe37a8" providerId="ADAL" clId="{7C0F5F51-27F7-4508-B98E-B56A0EE205A2}" dt="2022-03-31T21:13:55.168" v="2863" actId="478"/>
          <ac:picMkLst>
            <pc:docMk/>
            <pc:sldMk cId="2147991246" sldId="416"/>
            <ac:picMk id="4" creationId="{956BF4B1-AB67-4411-B378-79BB6822B1DC}"/>
          </ac:picMkLst>
        </pc:picChg>
        <pc:picChg chg="add mod ord">
          <ac:chgData name="Sonnek, Adrianna" userId="963582f5-32ec-4fd4-aa78-ba6469fe37a8" providerId="ADAL" clId="{7C0F5F51-27F7-4508-B98E-B56A0EE205A2}" dt="2022-03-31T21:16:40.481" v="2897" actId="171"/>
          <ac:picMkLst>
            <pc:docMk/>
            <pc:sldMk cId="2147991246" sldId="416"/>
            <ac:picMk id="6" creationId="{883B31EA-DC2A-4A59-827B-59189640A0FF}"/>
          </ac:picMkLst>
        </pc:picChg>
        <pc:picChg chg="add mod ord">
          <ac:chgData name="Sonnek, Adrianna" userId="963582f5-32ec-4fd4-aa78-ba6469fe37a8" providerId="ADAL" clId="{7C0F5F51-27F7-4508-B98E-B56A0EE205A2}" dt="2022-03-31T21:19:27.086" v="3057" actId="171"/>
          <ac:picMkLst>
            <pc:docMk/>
            <pc:sldMk cId="2147991246" sldId="416"/>
            <ac:picMk id="18" creationId="{F800CFFA-52C0-44AB-8F83-933486B703E7}"/>
          </ac:picMkLst>
        </pc:picChg>
      </pc:sldChg>
      <pc:sldChg chg="addSp delSp modSp new mod">
        <pc:chgData name="Sonnek, Adrianna" userId="963582f5-32ec-4fd4-aa78-ba6469fe37a8" providerId="ADAL" clId="{7C0F5F51-27F7-4508-B98E-B56A0EE205A2}" dt="2022-03-31T21:31:21.620" v="3461"/>
        <pc:sldMkLst>
          <pc:docMk/>
          <pc:sldMk cId="3588403816" sldId="417"/>
        </pc:sldMkLst>
        <pc:spChg chg="mod">
          <ac:chgData name="Sonnek, Adrianna" userId="963582f5-32ec-4fd4-aa78-ba6469fe37a8" providerId="ADAL" clId="{7C0F5F51-27F7-4508-B98E-B56A0EE205A2}" dt="2022-03-31T21:24:59.158" v="3129" actId="14100"/>
          <ac:spMkLst>
            <pc:docMk/>
            <pc:sldMk cId="3588403816" sldId="417"/>
            <ac:spMk id="2" creationId="{0A17EAA9-5B33-4FD2-A9E8-499E3356D641}"/>
          </ac:spMkLst>
        </pc:spChg>
        <pc:spChg chg="del mod">
          <ac:chgData name="Sonnek, Adrianna" userId="963582f5-32ec-4fd4-aa78-ba6469fe37a8" providerId="ADAL" clId="{7C0F5F51-27F7-4508-B98E-B56A0EE205A2}" dt="2022-03-31T21:27:00.997" v="3141" actId="478"/>
          <ac:spMkLst>
            <pc:docMk/>
            <pc:sldMk cId="3588403816" sldId="417"/>
            <ac:spMk id="3" creationId="{FBA60352-AA12-4E5C-81BB-8759A64DBBDD}"/>
          </ac:spMkLst>
        </pc:spChg>
        <pc:spChg chg="del">
          <ac:chgData name="Sonnek, Adrianna" userId="963582f5-32ec-4fd4-aa78-ba6469fe37a8" providerId="ADAL" clId="{7C0F5F51-27F7-4508-B98E-B56A0EE205A2}" dt="2022-03-31T21:26:34.173" v="3140" actId="478"/>
          <ac:spMkLst>
            <pc:docMk/>
            <pc:sldMk cId="3588403816" sldId="417"/>
            <ac:spMk id="4" creationId="{593059CC-9F80-47A6-9620-C72F7C80A6D2}"/>
          </ac:spMkLst>
        </pc:spChg>
        <pc:spChg chg="add mod ord">
          <ac:chgData name="Sonnek, Adrianna" userId="963582f5-32ec-4fd4-aa78-ba6469fe37a8" providerId="ADAL" clId="{7C0F5F51-27F7-4508-B98E-B56A0EE205A2}" dt="2022-03-31T21:25:39.547" v="3133" actId="171"/>
          <ac:spMkLst>
            <pc:docMk/>
            <pc:sldMk cId="3588403816" sldId="417"/>
            <ac:spMk id="5" creationId="{3F1AA905-7DE8-4A17-B54D-48A95A505950}"/>
          </ac:spMkLst>
        </pc:spChg>
        <pc:spChg chg="add del mod">
          <ac:chgData name="Sonnek, Adrianna" userId="963582f5-32ec-4fd4-aa78-ba6469fe37a8" providerId="ADAL" clId="{7C0F5F51-27F7-4508-B98E-B56A0EE205A2}" dt="2022-03-31T21:26:17.388" v="3135" actId="478"/>
          <ac:spMkLst>
            <pc:docMk/>
            <pc:sldMk cId="3588403816" sldId="417"/>
            <ac:spMk id="6" creationId="{F290B3B5-3A57-4C00-922A-050ABA4F1550}"/>
          </ac:spMkLst>
        </pc:spChg>
        <pc:spChg chg="add mod">
          <ac:chgData name="Sonnek, Adrianna" userId="963582f5-32ec-4fd4-aa78-ba6469fe37a8" providerId="ADAL" clId="{7C0F5F51-27F7-4508-B98E-B56A0EE205A2}" dt="2022-03-31T21:29:42.709" v="3452" actId="1076"/>
          <ac:spMkLst>
            <pc:docMk/>
            <pc:sldMk cId="3588403816" sldId="417"/>
            <ac:spMk id="9" creationId="{0D56A01E-8FC0-4FAA-9D08-073B5842B45E}"/>
          </ac:spMkLst>
        </pc:spChg>
        <pc:spChg chg="add mod">
          <ac:chgData name="Sonnek, Adrianna" userId="963582f5-32ec-4fd4-aa78-ba6469fe37a8" providerId="ADAL" clId="{7C0F5F51-27F7-4508-B98E-B56A0EE205A2}" dt="2022-03-31T21:31:21.620" v="3461"/>
          <ac:spMkLst>
            <pc:docMk/>
            <pc:sldMk cId="3588403816" sldId="417"/>
            <ac:spMk id="10" creationId="{F9523618-F0E2-4FA6-A693-A0D84E64F33C}"/>
          </ac:spMkLst>
        </pc:spChg>
        <pc:picChg chg="add mod">
          <ac:chgData name="Sonnek, Adrianna" userId="963582f5-32ec-4fd4-aa78-ba6469fe37a8" providerId="ADAL" clId="{7C0F5F51-27F7-4508-B98E-B56A0EE205A2}" dt="2022-03-31T21:28:46.550" v="3443" actId="14100"/>
          <ac:picMkLst>
            <pc:docMk/>
            <pc:sldMk cId="3588403816" sldId="417"/>
            <ac:picMk id="8" creationId="{6AAAA802-369E-4870-B11B-9B6C4E5EB8B1}"/>
          </ac:picMkLst>
        </pc:picChg>
      </pc:sldChg>
      <pc:sldChg chg="addSp delSp modSp mod">
        <pc:chgData name="Sonnek, Adrianna" userId="963582f5-32ec-4fd4-aa78-ba6469fe37a8" providerId="ADAL" clId="{7C0F5F51-27F7-4508-B98E-B56A0EE205A2}" dt="2022-04-01T15:52:50.504" v="4122" actId="20577"/>
        <pc:sldMkLst>
          <pc:docMk/>
          <pc:sldMk cId="637518430" sldId="418"/>
        </pc:sldMkLst>
        <pc:spChg chg="mod">
          <ac:chgData name="Sonnek, Adrianna" userId="963582f5-32ec-4fd4-aa78-ba6469fe37a8" providerId="ADAL" clId="{7C0F5F51-27F7-4508-B98E-B56A0EE205A2}" dt="2022-04-01T15:19:10.975" v="4112" actId="403"/>
          <ac:spMkLst>
            <pc:docMk/>
            <pc:sldMk cId="637518430" sldId="418"/>
            <ac:spMk id="2" creationId="{5FE38DC5-B5EE-7548-990C-5872699219A7}"/>
          </ac:spMkLst>
        </pc:spChg>
        <pc:spChg chg="del">
          <ac:chgData name="Sonnek, Adrianna" userId="963582f5-32ec-4fd4-aa78-ba6469fe37a8" providerId="ADAL" clId="{7C0F5F51-27F7-4508-B98E-B56A0EE205A2}" dt="2022-04-01T15:18:43.681" v="4105" actId="478"/>
          <ac:spMkLst>
            <pc:docMk/>
            <pc:sldMk cId="637518430" sldId="418"/>
            <ac:spMk id="5" creationId="{59136CF8-2B71-477C-9282-ECC97AD9AF97}"/>
          </ac:spMkLst>
        </pc:spChg>
        <pc:spChg chg="del mod">
          <ac:chgData name="Sonnek, Adrianna" userId="963582f5-32ec-4fd4-aa78-ba6469fe37a8" providerId="ADAL" clId="{7C0F5F51-27F7-4508-B98E-B56A0EE205A2}" dt="2022-04-01T15:18:41.377" v="4103" actId="478"/>
          <ac:spMkLst>
            <pc:docMk/>
            <pc:sldMk cId="637518430" sldId="418"/>
            <ac:spMk id="9" creationId="{6654BA3C-9042-4672-975B-9960EFDBEFED}"/>
          </ac:spMkLst>
        </pc:spChg>
        <pc:spChg chg="add mod">
          <ac:chgData name="Sonnek, Adrianna" userId="963582f5-32ec-4fd4-aa78-ba6469fe37a8" providerId="ADAL" clId="{7C0F5F51-27F7-4508-B98E-B56A0EE205A2}" dt="2022-04-01T15:52:50.504" v="4122" actId="20577"/>
          <ac:spMkLst>
            <pc:docMk/>
            <pc:sldMk cId="637518430" sldId="418"/>
            <ac:spMk id="13" creationId="{6C48BFF4-0C26-440D-A44E-DF678B13107D}"/>
          </ac:spMkLst>
        </pc:spChg>
        <pc:graphicFrameChg chg="del">
          <ac:chgData name="Sonnek, Adrianna" userId="963582f5-32ec-4fd4-aa78-ba6469fe37a8" providerId="ADAL" clId="{7C0F5F51-27F7-4508-B98E-B56A0EE205A2}" dt="2022-04-01T15:18:45.962" v="4106" actId="478"/>
          <ac:graphicFrameMkLst>
            <pc:docMk/>
            <pc:sldMk cId="637518430" sldId="418"/>
            <ac:graphicFrameMk id="11" creationId="{671C1DFB-36F3-4FF2-B6F4-383FED474CED}"/>
          </ac:graphicFrameMkLst>
        </pc:graphicFrameChg>
        <pc:picChg chg="del">
          <ac:chgData name="Sonnek, Adrianna" userId="963582f5-32ec-4fd4-aa78-ba6469fe37a8" providerId="ADAL" clId="{7C0F5F51-27F7-4508-B98E-B56A0EE205A2}" dt="2022-04-01T15:18:42.527" v="4104" actId="478"/>
          <ac:picMkLst>
            <pc:docMk/>
            <pc:sldMk cId="637518430" sldId="418"/>
            <ac:picMk id="4" creationId="{956BF4B1-AB67-4411-B378-79BB6822B1DC}"/>
          </ac:picMkLst>
        </pc:picChg>
        <pc:picChg chg="add mod">
          <ac:chgData name="Sonnek, Adrianna" userId="963582f5-32ec-4fd4-aa78-ba6469fe37a8" providerId="ADAL" clId="{7C0F5F51-27F7-4508-B98E-B56A0EE205A2}" dt="2022-04-01T15:19:15.711" v="4113"/>
          <ac:picMkLst>
            <pc:docMk/>
            <pc:sldMk cId="637518430" sldId="418"/>
            <ac:picMk id="12" creationId="{DCD42515-C8B2-41ED-A134-42391FB2D661}"/>
          </ac:picMkLst>
        </pc:picChg>
      </pc:sldChg>
      <pc:sldChg chg="add del">
        <pc:chgData name="Sonnek, Adrianna" userId="963582f5-32ec-4fd4-aa78-ba6469fe37a8" providerId="ADAL" clId="{7C0F5F51-27F7-4508-B98E-B56A0EE205A2}" dt="2022-03-31T22:02:35.160" v="3998"/>
        <pc:sldMkLst>
          <pc:docMk/>
          <pc:sldMk cId="1686937376" sldId="418"/>
        </pc:sldMkLst>
      </pc:sldChg>
      <pc:sldChg chg="add">
        <pc:chgData name="Sonnek, Adrianna" userId="963582f5-32ec-4fd4-aa78-ba6469fe37a8" providerId="ADAL" clId="{7C0F5F51-27F7-4508-B98E-B56A0EE205A2}" dt="2022-04-01T15:54:11.350" v="4123" actId="2890"/>
        <pc:sldMkLst>
          <pc:docMk/>
          <pc:sldMk cId="3703656955" sldId="419"/>
        </pc:sldMkLst>
      </pc:sldChg>
      <pc:sldMasterChg chg="delSldLayout">
        <pc:chgData name="Sonnek, Adrianna" userId="963582f5-32ec-4fd4-aa78-ba6469fe37a8" providerId="ADAL" clId="{7C0F5F51-27F7-4508-B98E-B56A0EE205A2}" dt="2022-03-31T21:31:40.545" v="3463" actId="47"/>
        <pc:sldMasterMkLst>
          <pc:docMk/>
          <pc:sldMasterMk cId="2128414835" sldId="2147483660"/>
        </pc:sldMasterMkLst>
        <pc:sldLayoutChg chg="del">
          <pc:chgData name="Sonnek, Adrianna" userId="963582f5-32ec-4fd4-aa78-ba6469fe37a8" providerId="ADAL" clId="{7C0F5F51-27F7-4508-B98E-B56A0EE205A2}" dt="2022-03-31T21:31:40.545" v="3463" actId="47"/>
          <pc:sldLayoutMkLst>
            <pc:docMk/>
            <pc:sldMasterMk cId="2128414835" sldId="2147483660"/>
            <pc:sldLayoutMk cId="2467967748" sldId="2147483701"/>
          </pc:sldLayoutMkLst>
        </pc:sldLayoutChg>
        <pc:sldLayoutChg chg="del">
          <pc:chgData name="Sonnek, Adrianna" userId="963582f5-32ec-4fd4-aa78-ba6469fe37a8" providerId="ADAL" clId="{7C0F5F51-27F7-4508-B98E-B56A0EE205A2}" dt="2022-03-31T19:18:55.119" v="1575" actId="47"/>
          <pc:sldLayoutMkLst>
            <pc:docMk/>
            <pc:sldMasterMk cId="2128414835" sldId="2147483660"/>
            <pc:sldLayoutMk cId="3629943366" sldId="214748370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6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E8-4141-812E-73E06E687C6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E8-4141-812E-73E06E687C6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6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E8-4141-812E-73E06E687C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45801984118636"/>
          <c:y val="4.9477370920551808E-2"/>
          <c:w val="0.50894473720372402"/>
          <c:h val="0.7817174812328597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12-4822-AE30-59C77415F03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12-4822-AE30-59C77415F03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4</c:v>
                </c:pt>
                <c:pt idx="1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12-4822-AE30-59C77415F0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62" b="0" i="0" u="none" strike="noStrike" baseline="0" dirty="0">
                <a:effectLst/>
              </a:rPr>
              <a:t>I would be more likely to seek dental care if my dentist and doctor were located in the same office.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439969536304627E-2"/>
          <c:y val="0.14352388813217354"/>
          <c:w val="0.89759622056557808"/>
          <c:h val="0.66073283817596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1.11111123262371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17C-41E5-A411-4FA5B104FD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trongly Agree</c:v>
                </c:pt>
                <c:pt idx="1">
                  <c:v>Somewhat Agree</c:v>
                </c:pt>
                <c:pt idx="2">
                  <c:v>Neither Agree or disagree</c:v>
                </c:pt>
                <c:pt idx="3">
                  <c:v>Somewhat Disagree</c:v>
                </c:pt>
                <c:pt idx="4">
                  <c:v>Strongly Disagree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14499999999999999</c:v>
                </c:pt>
                <c:pt idx="1">
                  <c:v>0.156</c:v>
                </c:pt>
                <c:pt idx="2">
                  <c:v>0.47</c:v>
                </c:pt>
                <c:pt idx="3">
                  <c:v>0.1</c:v>
                </c:pt>
                <c:pt idx="4">
                  <c:v>0.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68-4492-B0C8-4AEFB97EA6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2.7777780815592828E-2"/>
                  <c:y val="-4.783219411735594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C-41E5-A411-4FA5B104FD71}"/>
                </c:ext>
              </c:extLst>
            </c:dLbl>
            <c:dLbl>
              <c:idx val="3"/>
              <c:layout>
                <c:manualLayout>
                  <c:x val="1.8055557530135286E-2"/>
                  <c:y val="-2.391609705867775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C91-4FCB-8F21-DE7D584E4C9E}"/>
                </c:ext>
              </c:extLst>
            </c:dLbl>
            <c:dLbl>
              <c:idx val="6"/>
              <c:layout>
                <c:manualLayout>
                  <c:x val="1.250000136701677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C91-4FCB-8F21-DE7D584E4C9E}"/>
                </c:ext>
              </c:extLst>
            </c:dLbl>
            <c:dLbl>
              <c:idx val="7"/>
              <c:layout>
                <c:manualLayout>
                  <c:x val="1.6471591692233792E-2"/>
                  <c:y val="-7.989248693988548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C91-4FCB-8F21-DE7D584E4C9E}"/>
                </c:ext>
              </c:extLst>
            </c:dLbl>
            <c:dLbl>
              <c:idx val="8"/>
              <c:layout>
                <c:manualLayout>
                  <c:x val="1.2500001367016773E-2"/>
                  <c:y val="-2.3916097058678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C91-4FCB-8F21-DE7D584E4C9E}"/>
                </c:ext>
              </c:extLst>
            </c:dLbl>
            <c:dLbl>
              <c:idx val="9"/>
              <c:layout>
                <c:manualLayout>
                  <c:x val="5.9896697062666142E-3"/>
                  <c:y val="-9.76452449203243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C91-4FCB-8F21-DE7D584E4C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trongly Agree</c:v>
                </c:pt>
                <c:pt idx="1">
                  <c:v>Somewhat Agree</c:v>
                </c:pt>
                <c:pt idx="2">
                  <c:v>Neither Agree or disagree</c:v>
                </c:pt>
                <c:pt idx="3">
                  <c:v>Somewhat Disagree</c:v>
                </c:pt>
                <c:pt idx="4">
                  <c:v>Strongly Disagree</c:v>
                </c:pt>
              </c:strCache>
            </c:strRef>
          </c:cat>
          <c:val>
            <c:numRef>
              <c:f>Sheet1!$C$2:$C$6</c:f>
              <c:numCache>
                <c:formatCode>0.0%</c:formatCode>
                <c:ptCount val="5"/>
                <c:pt idx="0">
                  <c:v>0.124</c:v>
                </c:pt>
                <c:pt idx="1">
                  <c:v>0.14199999999999999</c:v>
                </c:pt>
                <c:pt idx="2">
                  <c:v>0.46899999999999997</c:v>
                </c:pt>
                <c:pt idx="3">
                  <c:v>0.106</c:v>
                </c:pt>
                <c:pt idx="4">
                  <c:v>0.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68-4492-B0C8-4AEFB97EA6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3795647845871449"/>
          <c:y val="0.90340137745420113"/>
          <c:w val="0.21897135077238511"/>
          <c:h val="9.20118164351042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522817692557546"/>
          <c:y val="8.7313007506856138E-2"/>
          <c:w val="0.50894473720372402"/>
          <c:h val="0.7817174812328597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E42-4DD8-9D89-3A30AF9E4F3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E42-4DD8-9D89-3A30AF9E4F3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1</c:v>
                </c:pt>
                <c:pt idx="1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E42-4DD8-9D89-3A30AF9E4F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439935462487983E-2"/>
          <c:y val="3.1118228508868591E-2"/>
          <c:w val="0.89759622056557808"/>
          <c:h val="0.526802671218930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Heart Disease</c:v>
                </c:pt>
                <c:pt idx="1">
                  <c:v>Diabetes</c:v>
                </c:pt>
                <c:pt idx="2">
                  <c:v>Dementia/Alzheimer's</c:v>
                </c:pt>
                <c:pt idx="3">
                  <c:v>Oral and Throat Cancer</c:v>
                </c:pt>
                <c:pt idx="4">
                  <c:v>HPV</c:v>
                </c:pt>
                <c:pt idx="5">
                  <c:v>Depression/ Anxiety</c:v>
                </c:pt>
                <c:pt idx="6">
                  <c:v>Asthma</c:v>
                </c:pt>
                <c:pt idx="7">
                  <c:v>Stroke</c:v>
                </c:pt>
                <c:pt idx="8">
                  <c:v>Adverse Pregnancy Outcomes</c:v>
                </c:pt>
                <c:pt idx="9">
                  <c:v>None of the Above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>
                  <c:v>0.48099999999999998</c:v>
                </c:pt>
                <c:pt idx="1">
                  <c:v>0.28699999999999998</c:v>
                </c:pt>
                <c:pt idx="2">
                  <c:v>9.6000000000000002E-2</c:v>
                </c:pt>
                <c:pt idx="3">
                  <c:v>0.81499999999999995</c:v>
                </c:pt>
                <c:pt idx="4">
                  <c:v>9.2999999999999999E-2</c:v>
                </c:pt>
                <c:pt idx="5">
                  <c:v>0.37</c:v>
                </c:pt>
                <c:pt idx="6">
                  <c:v>0.10299999999999999</c:v>
                </c:pt>
                <c:pt idx="7">
                  <c:v>0.19400000000000001</c:v>
                </c:pt>
                <c:pt idx="8">
                  <c:v>0.14000000000000001</c:v>
                </c:pt>
                <c:pt idx="9">
                  <c:v>7.5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68-4492-B0C8-4AEFB97EA6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1.8055557530135286E-2"/>
                  <c:y val="-2.391609705867775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C91-4FCB-8F21-DE7D584E4C9E}"/>
                </c:ext>
              </c:extLst>
            </c:dLbl>
            <c:dLbl>
              <c:idx val="6"/>
              <c:layout>
                <c:manualLayout>
                  <c:x val="1.250000136701677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C91-4FCB-8F21-DE7D584E4C9E}"/>
                </c:ext>
              </c:extLst>
            </c:dLbl>
            <c:dLbl>
              <c:idx val="7"/>
              <c:layout>
                <c:manualLayout>
                  <c:x val="1.6471591692233792E-2"/>
                  <c:y val="-7.989248693988548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C91-4FCB-8F21-DE7D584E4C9E}"/>
                </c:ext>
              </c:extLst>
            </c:dLbl>
            <c:dLbl>
              <c:idx val="8"/>
              <c:layout>
                <c:manualLayout>
                  <c:x val="1.2500001367016773E-2"/>
                  <c:y val="-2.3916097058678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C91-4FCB-8F21-DE7D584E4C9E}"/>
                </c:ext>
              </c:extLst>
            </c:dLbl>
            <c:dLbl>
              <c:idx val="9"/>
              <c:layout>
                <c:manualLayout>
                  <c:x val="5.9896697062666142E-3"/>
                  <c:y val="-9.76452449203243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C91-4FCB-8F21-DE7D584E4C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Heart Disease</c:v>
                </c:pt>
                <c:pt idx="1">
                  <c:v>Diabetes</c:v>
                </c:pt>
                <c:pt idx="2">
                  <c:v>Dementia/Alzheimer's</c:v>
                </c:pt>
                <c:pt idx="3">
                  <c:v>Oral and Throat Cancer</c:v>
                </c:pt>
                <c:pt idx="4">
                  <c:v>HPV</c:v>
                </c:pt>
                <c:pt idx="5">
                  <c:v>Depression/ Anxiety</c:v>
                </c:pt>
                <c:pt idx="6">
                  <c:v>Asthma</c:v>
                </c:pt>
                <c:pt idx="7">
                  <c:v>Stroke</c:v>
                </c:pt>
                <c:pt idx="8">
                  <c:v>Adverse Pregnancy Outcomes</c:v>
                </c:pt>
                <c:pt idx="9">
                  <c:v>None of the Above</c:v>
                </c:pt>
              </c:strCache>
            </c:strRef>
          </c:cat>
          <c:val>
            <c:numRef>
              <c:f>Sheet1!$C$2:$C$11</c:f>
              <c:numCache>
                <c:formatCode>0.0%</c:formatCode>
                <c:ptCount val="10"/>
                <c:pt idx="0">
                  <c:v>0.55600000000000005</c:v>
                </c:pt>
                <c:pt idx="1">
                  <c:v>0.35199999999999998</c:v>
                </c:pt>
                <c:pt idx="2">
                  <c:v>0.124</c:v>
                </c:pt>
                <c:pt idx="3">
                  <c:v>0.80100000000000005</c:v>
                </c:pt>
                <c:pt idx="4">
                  <c:v>0.11899999999999999</c:v>
                </c:pt>
                <c:pt idx="5">
                  <c:v>0.314</c:v>
                </c:pt>
                <c:pt idx="6">
                  <c:v>0.114</c:v>
                </c:pt>
                <c:pt idx="7">
                  <c:v>0.216</c:v>
                </c:pt>
                <c:pt idx="8">
                  <c:v>0.13400000000000001</c:v>
                </c:pt>
                <c:pt idx="9">
                  <c:v>6.6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68-4492-B0C8-4AEFB97EA6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415397153187019"/>
          <c:y val="0.87458476382828276"/>
          <c:w val="0.11208752902440514"/>
          <c:h val="4.53174122058844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439969536304627E-2"/>
          <c:y val="2.6335012544652012E-2"/>
          <c:w val="0.89759622056557808"/>
          <c:h val="0.801553261482392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1.11111123262371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17C-41E5-A411-4FA5B104FD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Always</c:v>
                </c:pt>
                <c:pt idx="1">
                  <c:v>Often</c:v>
                </c:pt>
                <c:pt idx="2">
                  <c:v>Occasionally</c:v>
                </c:pt>
                <c:pt idx="3">
                  <c:v>Rarely</c:v>
                </c:pt>
                <c:pt idx="4">
                  <c:v>Never</c:v>
                </c:pt>
                <c:pt idx="5">
                  <c:v>No Primary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5.1999999999999998E-2</c:v>
                </c:pt>
                <c:pt idx="1">
                  <c:v>7.3999999999999996E-2</c:v>
                </c:pt>
                <c:pt idx="2">
                  <c:v>0.17299999999999999</c:v>
                </c:pt>
                <c:pt idx="3">
                  <c:v>0.23899999999999999</c:v>
                </c:pt>
                <c:pt idx="4">
                  <c:v>0.38500000000000001</c:v>
                </c:pt>
                <c:pt idx="5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68-4492-B0C8-4AEFB97EA6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2.7777780815592828E-2"/>
                  <c:y val="-4.783219411735594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C-41E5-A411-4FA5B104FD71}"/>
                </c:ext>
              </c:extLst>
            </c:dLbl>
            <c:dLbl>
              <c:idx val="3"/>
              <c:layout>
                <c:manualLayout>
                  <c:x val="1.8055557530135286E-2"/>
                  <c:y val="-2.391609705867775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C91-4FCB-8F21-DE7D584E4C9E}"/>
                </c:ext>
              </c:extLst>
            </c:dLbl>
            <c:dLbl>
              <c:idx val="6"/>
              <c:layout>
                <c:manualLayout>
                  <c:x val="1.250000136701677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C91-4FCB-8F21-DE7D584E4C9E}"/>
                </c:ext>
              </c:extLst>
            </c:dLbl>
            <c:dLbl>
              <c:idx val="7"/>
              <c:layout>
                <c:manualLayout>
                  <c:x val="1.6471591692233792E-2"/>
                  <c:y val="-7.989248693988548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C91-4FCB-8F21-DE7D584E4C9E}"/>
                </c:ext>
              </c:extLst>
            </c:dLbl>
            <c:dLbl>
              <c:idx val="8"/>
              <c:layout>
                <c:manualLayout>
                  <c:x val="1.2500001367016773E-2"/>
                  <c:y val="-2.3916097058678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C91-4FCB-8F21-DE7D584E4C9E}"/>
                </c:ext>
              </c:extLst>
            </c:dLbl>
            <c:dLbl>
              <c:idx val="9"/>
              <c:layout>
                <c:manualLayout>
                  <c:x val="5.9896697062666142E-3"/>
                  <c:y val="-9.76452449203243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C91-4FCB-8F21-DE7D584E4C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Always</c:v>
                </c:pt>
                <c:pt idx="1">
                  <c:v>Often</c:v>
                </c:pt>
                <c:pt idx="2">
                  <c:v>Occasionally</c:v>
                </c:pt>
                <c:pt idx="3">
                  <c:v>Rarely</c:v>
                </c:pt>
                <c:pt idx="4">
                  <c:v>Never</c:v>
                </c:pt>
                <c:pt idx="5">
                  <c:v>No Primary</c:v>
                </c:pt>
              </c:strCache>
            </c:strRef>
          </c:cat>
          <c:val>
            <c:numRef>
              <c:f>Sheet1!$C$2:$C$7</c:f>
              <c:numCache>
                <c:formatCode>0.0%</c:formatCode>
                <c:ptCount val="6"/>
                <c:pt idx="0">
                  <c:v>0.05</c:v>
                </c:pt>
                <c:pt idx="1">
                  <c:v>7.0000000000000007E-2</c:v>
                </c:pt>
                <c:pt idx="2">
                  <c:v>0.19700000000000001</c:v>
                </c:pt>
                <c:pt idx="3">
                  <c:v>0.24199999999999999</c:v>
                </c:pt>
                <c:pt idx="4">
                  <c:v>0.376</c:v>
                </c:pt>
                <c:pt idx="5">
                  <c:v>5.8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68-4492-B0C8-4AEFB97EA6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543676371762207"/>
          <c:y val="0.85568278166711198"/>
          <c:w val="9.7592355010828857E-2"/>
          <c:h val="0.103853405932348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49482994356262"/>
          <c:y val="2.6334989951922814E-2"/>
          <c:w val="0.88550517005643736"/>
          <c:h val="0.431234687498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1.11111123262371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3BA-4E4F-B5E6-40170E315B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Always</c:v>
                </c:pt>
                <c:pt idx="1">
                  <c:v>Often</c:v>
                </c:pt>
                <c:pt idx="2">
                  <c:v>Occasionally</c:v>
                </c:pt>
                <c:pt idx="3">
                  <c:v>Rarely</c:v>
                </c:pt>
                <c:pt idx="4">
                  <c:v>Never</c:v>
                </c:pt>
                <c:pt idx="5">
                  <c:v>No Primary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158</c:v>
                </c:pt>
                <c:pt idx="1">
                  <c:v>0.17599999999999999</c:v>
                </c:pt>
                <c:pt idx="2">
                  <c:v>0.22600000000000001</c:v>
                </c:pt>
                <c:pt idx="3">
                  <c:v>0.14799999999999999</c:v>
                </c:pt>
                <c:pt idx="4">
                  <c:v>0.184</c:v>
                </c:pt>
                <c:pt idx="5">
                  <c:v>7.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BA-4E4F-B5E6-40170E315B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092780506860854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3BA-4E4F-B5E6-40170E315B26}"/>
                </c:ext>
              </c:extLst>
            </c:dLbl>
            <c:dLbl>
              <c:idx val="1"/>
              <c:layout>
                <c:manualLayout>
                  <c:x val="1.7484488109773676E-2"/>
                  <c:y val="-8.353527877350478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3BA-4E4F-B5E6-40170E315B26}"/>
                </c:ext>
              </c:extLst>
            </c:dLbl>
            <c:dLbl>
              <c:idx val="2"/>
              <c:layout>
                <c:manualLayout>
                  <c:x val="2.7777780815592828E-2"/>
                  <c:y val="-4.783219411735594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3BA-4E4F-B5E6-40170E315B26}"/>
                </c:ext>
              </c:extLst>
            </c:dLbl>
            <c:dLbl>
              <c:idx val="3"/>
              <c:layout>
                <c:manualLayout>
                  <c:x val="1.8055557530135286E-2"/>
                  <c:y val="-2.391609705867775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3BA-4E4F-B5E6-40170E315B26}"/>
                </c:ext>
              </c:extLst>
            </c:dLbl>
            <c:dLbl>
              <c:idx val="6"/>
              <c:layout>
                <c:manualLayout>
                  <c:x val="1.250000136701677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3BA-4E4F-B5E6-40170E315B26}"/>
                </c:ext>
              </c:extLst>
            </c:dLbl>
            <c:dLbl>
              <c:idx val="7"/>
              <c:layout>
                <c:manualLayout>
                  <c:x val="1.6471591692233792E-2"/>
                  <c:y val="-7.989248693988548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3BA-4E4F-B5E6-40170E315B26}"/>
                </c:ext>
              </c:extLst>
            </c:dLbl>
            <c:dLbl>
              <c:idx val="8"/>
              <c:layout>
                <c:manualLayout>
                  <c:x val="1.2500001367016773E-2"/>
                  <c:y val="-2.3916097058678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3BA-4E4F-B5E6-40170E315B26}"/>
                </c:ext>
              </c:extLst>
            </c:dLbl>
            <c:dLbl>
              <c:idx val="9"/>
              <c:layout>
                <c:manualLayout>
                  <c:x val="5.9896697062666142E-3"/>
                  <c:y val="-9.76452449203243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3BA-4E4F-B5E6-40170E315B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Always</c:v>
                </c:pt>
                <c:pt idx="1">
                  <c:v>Often</c:v>
                </c:pt>
                <c:pt idx="2">
                  <c:v>Occasionally</c:v>
                </c:pt>
                <c:pt idx="3">
                  <c:v>Rarely</c:v>
                </c:pt>
                <c:pt idx="4">
                  <c:v>Never</c:v>
                </c:pt>
                <c:pt idx="5">
                  <c:v>No Primary</c:v>
                </c:pt>
              </c:strCache>
            </c:strRef>
          </c:cat>
          <c:val>
            <c:numRef>
              <c:f>Sheet1!$C$2:$C$7</c:f>
              <c:numCache>
                <c:formatCode>0.0%</c:formatCode>
                <c:ptCount val="6"/>
                <c:pt idx="0">
                  <c:v>0.17499999999999999</c:v>
                </c:pt>
                <c:pt idx="1">
                  <c:v>0.17699999999999999</c:v>
                </c:pt>
                <c:pt idx="2">
                  <c:v>0.24099999999999999</c:v>
                </c:pt>
                <c:pt idx="3">
                  <c:v>0.152</c:v>
                </c:pt>
                <c:pt idx="4">
                  <c:v>6.6000000000000003E-2</c:v>
                </c:pt>
                <c:pt idx="5">
                  <c:v>7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3BA-4E4F-B5E6-40170E315B2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0628529487434317"/>
          <c:y val="0.66260807993339543"/>
          <c:w val="9.7592355010828857E-2"/>
          <c:h val="8.03458097437982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62" b="0" i="0" u="none" strike="noStrike" baseline="0" dirty="0">
                <a:effectLst/>
              </a:rPr>
              <a:t>Has your dentist ever referred you to any of the following?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439969536304627E-2"/>
          <c:y val="0.15909744267002116"/>
          <c:w val="0.89759622056557808"/>
          <c:h val="0.623634917537520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1.11111123262371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17C-41E5-A411-4FA5B104FD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Mental Health Provider</c:v>
                </c:pt>
                <c:pt idx="1">
                  <c:v>Primary Care Provider</c:v>
                </c:pt>
                <c:pt idx="2">
                  <c:v>Other Medical Provider</c:v>
                </c:pt>
                <c:pt idx="3">
                  <c:v>None of thes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1.4999999999999999E-2</c:v>
                </c:pt>
                <c:pt idx="1">
                  <c:v>3.7999999999999999E-2</c:v>
                </c:pt>
                <c:pt idx="2">
                  <c:v>0.06</c:v>
                </c:pt>
                <c:pt idx="3">
                  <c:v>0.88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68-4492-B0C8-4AEFB97EA6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2.7777780815592828E-2"/>
                  <c:y val="-4.783219411735594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C-41E5-A411-4FA5B104FD71}"/>
                </c:ext>
              </c:extLst>
            </c:dLbl>
            <c:dLbl>
              <c:idx val="3"/>
              <c:layout>
                <c:manualLayout>
                  <c:x val="1.8055557530135286E-2"/>
                  <c:y val="-2.391609705867775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C91-4FCB-8F21-DE7D584E4C9E}"/>
                </c:ext>
              </c:extLst>
            </c:dLbl>
            <c:dLbl>
              <c:idx val="6"/>
              <c:layout>
                <c:manualLayout>
                  <c:x val="1.250000136701677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C91-4FCB-8F21-DE7D584E4C9E}"/>
                </c:ext>
              </c:extLst>
            </c:dLbl>
            <c:dLbl>
              <c:idx val="7"/>
              <c:layout>
                <c:manualLayout>
                  <c:x val="1.6471591692233792E-2"/>
                  <c:y val="-7.989248693988548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C91-4FCB-8F21-DE7D584E4C9E}"/>
                </c:ext>
              </c:extLst>
            </c:dLbl>
            <c:dLbl>
              <c:idx val="8"/>
              <c:layout>
                <c:manualLayout>
                  <c:x val="1.2500001367016773E-2"/>
                  <c:y val="-2.3916097058678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C91-4FCB-8F21-DE7D584E4C9E}"/>
                </c:ext>
              </c:extLst>
            </c:dLbl>
            <c:dLbl>
              <c:idx val="9"/>
              <c:layout>
                <c:manualLayout>
                  <c:x val="5.9896697062666142E-3"/>
                  <c:y val="-9.76452449203243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C91-4FCB-8F21-DE7D584E4C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Mental Health Provider</c:v>
                </c:pt>
                <c:pt idx="1">
                  <c:v>Primary Care Provider</c:v>
                </c:pt>
                <c:pt idx="2">
                  <c:v>Other Medical Provider</c:v>
                </c:pt>
                <c:pt idx="3">
                  <c:v>None of thes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1.6E-2</c:v>
                </c:pt>
                <c:pt idx="1">
                  <c:v>4.3999999999999997E-2</c:v>
                </c:pt>
                <c:pt idx="2">
                  <c:v>6.8000000000000005E-2</c:v>
                </c:pt>
                <c:pt idx="3">
                  <c:v>0.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68-4492-B0C8-4AEFB97EA6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141124577988255"/>
          <c:y val="0.89181223942988541"/>
          <c:w val="0.12884406483421532"/>
          <c:h val="4.6005908217552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45801984118636"/>
          <c:y val="4.9477370920551808E-2"/>
          <c:w val="0.50894473720372402"/>
          <c:h val="0.7817174812328597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453-4248-A90D-11891A9BD3A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453-4248-A90D-11891A9BD3A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2</c:v>
                </c:pt>
                <c:pt idx="1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453-4248-A90D-11891A9BD3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u="none" strike="noStrike" baseline="0" dirty="0">
                <a:effectLst/>
              </a:rPr>
              <a:t>Are you comfortable with your oral health provider measuring or screening for the following? 2022</a:t>
            </a:r>
            <a:endParaRPr lang="en-US" sz="16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439969536304627E-2"/>
          <c:y val="0.12878854517910374"/>
          <c:w val="0.89759622056557808"/>
          <c:h val="0.74482476696228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1.11111123262371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17C-41E5-A411-4FA5B104FD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Screened for Oral Cancer</c:v>
                </c:pt>
                <c:pt idx="1">
                  <c:v>Blood Pressure</c:v>
                </c:pt>
                <c:pt idx="2">
                  <c:v>Overall health screening*</c:v>
                </c:pt>
                <c:pt idx="3">
                  <c:v>Screened for Covid-19</c:v>
                </c:pt>
                <c:pt idx="4">
                  <c:v>Asked about Vaccination history</c:v>
                </c:pt>
                <c:pt idx="5">
                  <c:v>Screened for Diabetes</c:v>
                </c:pt>
                <c:pt idx="6">
                  <c:v>Height, Weight, BMI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0.81699999999999995</c:v>
                </c:pt>
                <c:pt idx="1">
                  <c:v>0.72599999999999998</c:v>
                </c:pt>
                <c:pt idx="2">
                  <c:v>0.65700000000000003</c:v>
                </c:pt>
                <c:pt idx="3">
                  <c:v>0.63400000000000001</c:v>
                </c:pt>
                <c:pt idx="4">
                  <c:v>0.625</c:v>
                </c:pt>
                <c:pt idx="5">
                  <c:v>0.57799999999999996</c:v>
                </c:pt>
                <c:pt idx="6">
                  <c:v>0.568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68-4492-B0C8-4AEFB97EA6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62" b="0" i="0" u="none" strike="noStrike" baseline="0" dirty="0">
                <a:effectLst/>
              </a:rPr>
              <a:t>Has your oral health provider ever checked any of the following?</a:t>
            </a:r>
            <a:r>
              <a:rPr lang="en-US" sz="1200" b="0" i="0" u="none" strike="noStrike" baseline="0" dirty="0">
                <a:effectLst/>
              </a:rPr>
              <a:t> (2022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439969536304627E-2"/>
          <c:y val="7.7093510021014847E-2"/>
          <c:w val="0.89759622056557808"/>
          <c:h val="0.6750176056197297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2.7777780815592828E-2"/>
                  <c:y val="-4.783219411735594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DFD-48F9-9BF7-9843394B55E8}"/>
                </c:ext>
              </c:extLst>
            </c:dLbl>
            <c:dLbl>
              <c:idx val="3"/>
              <c:layout>
                <c:manualLayout>
                  <c:x val="1.8055557530135286E-2"/>
                  <c:y val="-2.391609705867775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FD-48F9-9BF7-9843394B55E8}"/>
                </c:ext>
              </c:extLst>
            </c:dLbl>
            <c:dLbl>
              <c:idx val="6"/>
              <c:layout>
                <c:manualLayout>
                  <c:x val="1.250000136701677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DFD-48F9-9BF7-9843394B55E8}"/>
                </c:ext>
              </c:extLst>
            </c:dLbl>
            <c:dLbl>
              <c:idx val="7"/>
              <c:layout>
                <c:manualLayout>
                  <c:x val="1.6471591692233792E-2"/>
                  <c:y val="-7.989248693988548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DFD-48F9-9BF7-9843394B55E8}"/>
                </c:ext>
              </c:extLst>
            </c:dLbl>
            <c:dLbl>
              <c:idx val="8"/>
              <c:layout>
                <c:manualLayout>
                  <c:x val="1.2500001367016773E-2"/>
                  <c:y val="-2.3916097058678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DFD-48F9-9BF7-9843394B55E8}"/>
                </c:ext>
              </c:extLst>
            </c:dLbl>
            <c:dLbl>
              <c:idx val="9"/>
              <c:layout>
                <c:manualLayout>
                  <c:x val="5.9896697062666142E-3"/>
                  <c:y val="-9.764524492032438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DFD-48F9-9BF7-9843394B55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Blood Pressure</c:v>
                </c:pt>
                <c:pt idx="1">
                  <c:v>Screened for Oral Cancer</c:v>
                </c:pt>
                <c:pt idx="2">
                  <c:v>Overall health screening*</c:v>
                </c:pt>
                <c:pt idx="3">
                  <c:v>Asked about Vaccination history</c:v>
                </c:pt>
                <c:pt idx="4">
                  <c:v>Screened for Covid-19</c:v>
                </c:pt>
                <c:pt idx="5">
                  <c:v>Height, Weight, BMI</c:v>
                </c:pt>
                <c:pt idx="6">
                  <c:v>Screened for Diabetes</c:v>
                </c:pt>
                <c:pt idx="7">
                  <c:v>Screened for HIV*</c:v>
                </c:pt>
              </c:strCache>
            </c:strRef>
          </c:cat>
          <c:val>
            <c:numRef>
              <c:f>Sheet1!$B$2:$B$9</c:f>
              <c:numCache>
                <c:formatCode>0.0%</c:formatCode>
                <c:ptCount val="8"/>
                <c:pt idx="0">
                  <c:v>0.371</c:v>
                </c:pt>
                <c:pt idx="1">
                  <c:v>0.35599999999999998</c:v>
                </c:pt>
                <c:pt idx="2">
                  <c:v>0.29299999999999998</c:v>
                </c:pt>
                <c:pt idx="3">
                  <c:v>0.218</c:v>
                </c:pt>
                <c:pt idx="4">
                  <c:v>0.214</c:v>
                </c:pt>
                <c:pt idx="5">
                  <c:v>0.20599999999999999</c:v>
                </c:pt>
                <c:pt idx="6">
                  <c:v>0.111</c:v>
                </c:pt>
                <c:pt idx="7">
                  <c:v>6.6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DFD-48F9-9BF7-9843394B55E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48"/>
        <c:overlap val="-48"/>
        <c:axId val="1134545887"/>
        <c:axId val="1134547967"/>
      </c:barChart>
      <c:catAx>
        <c:axId val="1134545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7967"/>
        <c:crosses val="autoZero"/>
        <c:auto val="1"/>
        <c:lblAlgn val="ctr"/>
        <c:lblOffset val="100"/>
        <c:noMultiLvlLbl val="0"/>
      </c:catAx>
      <c:valAx>
        <c:axId val="1134547967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34545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45801984118636"/>
          <c:y val="4.9477370920551808E-2"/>
          <c:w val="0.50894473720372402"/>
          <c:h val="0.7817174812328597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5B6-438C-9EDB-5B6DB33D7A7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5B6-438C-9EDB-5B6DB33D7A7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1</c:v>
                </c:pt>
                <c:pt idx="1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5C-4D9B-80D5-79C3156D68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0063</cdr:x>
      <cdr:y>0.83731</cdr:y>
    </cdr:from>
    <cdr:to>
      <cdr:x>0.9273</cdr:x>
      <cdr:y>0.960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9483921-B95C-4423-979C-E71DE36F7747}"/>
            </a:ext>
          </a:extLst>
        </cdr:cNvPr>
        <cdr:cNvSpPr txBox="1"/>
      </cdr:nvSpPr>
      <cdr:spPr>
        <a:xfrm xmlns:a="http://schemas.openxmlformats.org/drawingml/2006/main">
          <a:off x="5492194" y="4446300"/>
          <a:ext cx="2987040" cy="6531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0063</cdr:x>
      <cdr:y>0.83731</cdr:y>
    </cdr:from>
    <cdr:to>
      <cdr:x>0.9273</cdr:x>
      <cdr:y>0.960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9483921-B95C-4423-979C-E71DE36F7747}"/>
            </a:ext>
          </a:extLst>
        </cdr:cNvPr>
        <cdr:cNvSpPr txBox="1"/>
      </cdr:nvSpPr>
      <cdr:spPr>
        <a:xfrm xmlns:a="http://schemas.openxmlformats.org/drawingml/2006/main">
          <a:off x="5492194" y="4446300"/>
          <a:ext cx="2987040" cy="6531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0063</cdr:x>
      <cdr:y>0.83731</cdr:y>
    </cdr:from>
    <cdr:to>
      <cdr:x>0.9273</cdr:x>
      <cdr:y>0.960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9483921-B95C-4423-979C-E71DE36F7747}"/>
            </a:ext>
          </a:extLst>
        </cdr:cNvPr>
        <cdr:cNvSpPr txBox="1"/>
      </cdr:nvSpPr>
      <cdr:spPr>
        <a:xfrm xmlns:a="http://schemas.openxmlformats.org/drawingml/2006/main">
          <a:off x="5492194" y="4446300"/>
          <a:ext cx="2987040" cy="6531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0063</cdr:x>
      <cdr:y>0.83731</cdr:y>
    </cdr:from>
    <cdr:to>
      <cdr:x>0.9273</cdr:x>
      <cdr:y>0.960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9483921-B95C-4423-979C-E71DE36F7747}"/>
            </a:ext>
          </a:extLst>
        </cdr:cNvPr>
        <cdr:cNvSpPr txBox="1"/>
      </cdr:nvSpPr>
      <cdr:spPr>
        <a:xfrm xmlns:a="http://schemas.openxmlformats.org/drawingml/2006/main">
          <a:off x="5492194" y="4446300"/>
          <a:ext cx="2987040" cy="6531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60063</cdr:x>
      <cdr:y>0.83731</cdr:y>
    </cdr:from>
    <cdr:to>
      <cdr:x>0.9273</cdr:x>
      <cdr:y>0.960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9483921-B95C-4423-979C-E71DE36F7747}"/>
            </a:ext>
          </a:extLst>
        </cdr:cNvPr>
        <cdr:cNvSpPr txBox="1"/>
      </cdr:nvSpPr>
      <cdr:spPr>
        <a:xfrm xmlns:a="http://schemas.openxmlformats.org/drawingml/2006/main">
          <a:off x="5492194" y="4446300"/>
          <a:ext cx="2987040" cy="6531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60063</cdr:x>
      <cdr:y>0.83731</cdr:y>
    </cdr:from>
    <cdr:to>
      <cdr:x>0.9273</cdr:x>
      <cdr:y>0.960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9483921-B95C-4423-979C-E71DE36F7747}"/>
            </a:ext>
          </a:extLst>
        </cdr:cNvPr>
        <cdr:cNvSpPr txBox="1"/>
      </cdr:nvSpPr>
      <cdr:spPr>
        <a:xfrm xmlns:a="http://schemas.openxmlformats.org/drawingml/2006/main">
          <a:off x="5492194" y="4446300"/>
          <a:ext cx="2987040" cy="6531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C706C1-B40C-4233-925E-338D280A606B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8282F2-5913-4EDC-A854-E9D2AE66B5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791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8282F2-5913-4EDC-A854-E9D2AE66B5B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6675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st consumers surveyed report that they are comfortable receiving health screenings from their oral health provi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5099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03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8282F2-5913-4EDC-A854-E9D2AE66B5B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9575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2022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882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EC831D-AA7D-6D4B-9E9A-AC97125AEC8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345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EC831D-AA7D-6D4B-9E9A-AC97125AEC8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6797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EC831D-AA7D-6D4B-9E9A-AC97125AEC8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5552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8282F2-5913-4EDC-A854-E9D2AE66B5B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915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366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2022, 22% of consumers report their primary oral health provider rarely or never ask about their overall health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62% of consumers indicated that their primary medical doctor rarely or never asked about their oral health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637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4276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st consumers surveyed report that they are comfortable receiving health screenings from their oral health provi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410BA5-E037-324B-A239-07AF460C56E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219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5.png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openxmlformats.org/officeDocument/2006/relationships/image" Target="../media/image8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343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0100"/>
            <a:ext cx="9089516" cy="201930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19400"/>
            <a:ext cx="10839448" cy="1371599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805E39-2073-418B-A986-F392C9B3BE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6" y="4343400"/>
            <a:ext cx="5254625" cy="7048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726817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814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3149600" cy="424263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80"/>
            <a:ext cx="3149600" cy="424263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D33988-952C-7B4B-A870-87C7B7F4447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56600" y="1554480"/>
            <a:ext cx="3149600" cy="424263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07CEAC-2C27-A64B-A088-3F4F42ABFB3A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311583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61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79"/>
            <a:ext cx="3149600" cy="426039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79"/>
            <a:ext cx="3149600" cy="426039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D33988-952C-7B4B-A870-87C7B7F4447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56600" y="1554479"/>
            <a:ext cx="3149600" cy="426039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BE34A8C-692E-584C-9ACB-8B9E24195584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6514E9-F46E-5546-BFFF-6C5403D2DB11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DCCAC0-DDDC-8E4F-BEBF-BD212ABCB16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02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8">
          <p15:clr>
            <a:srgbClr val="FBAE40"/>
          </p15:clr>
        </p15:guide>
        <p15:guide id="2" pos="2844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9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916">
          <p15:clr>
            <a:srgbClr val="FBAE40"/>
          </p15:clr>
        </p15:guide>
        <p15:guide id="8" orient="horz" pos="304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89">
          <p15:clr>
            <a:srgbClr val="FBAE40"/>
          </p15:clr>
        </p15:guide>
        <p15:guide id="12" orient="horz" pos="414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618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79"/>
            <a:ext cx="3149600" cy="425151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79"/>
            <a:ext cx="6985000" cy="425151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5D95B0A-AFCF-8E47-8231-980049A3FF59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661783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8">
          <p15:clr>
            <a:srgbClr val="FBAE40"/>
          </p15:clr>
        </p15:guide>
        <p15:guide id="2" pos="2846">
          <p15:clr>
            <a:srgbClr val="FBAE40"/>
          </p15:clr>
        </p15:guide>
        <p15:guide id="3" pos="432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918">
          <p15:clr>
            <a:srgbClr val="FBAE40"/>
          </p15:clr>
        </p15:guide>
        <p15:guide id="6" orient="horz" pos="308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92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5878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C7D2DE-9827-1847-9B57-1998229B54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800" y="1554479"/>
            <a:ext cx="4657724" cy="42426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486167"/>
            <a:ext cx="4657725" cy="966701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4AEBFDB-020C-BA45-BD44-18B5B63448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-1"/>
            <a:ext cx="6096000" cy="685799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3448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366">
          <p15:clr>
            <a:srgbClr val="FBAE40"/>
          </p15:clr>
        </p15:guide>
        <p15:guide id="3" pos="429">
          <p15:clr>
            <a:srgbClr val="FBAE40"/>
          </p15:clr>
        </p15:guide>
        <p15:guide id="4" orient="horz" pos="918">
          <p15:clr>
            <a:srgbClr val="FBAE40"/>
          </p15:clr>
        </p15:guide>
        <p15:guide id="5" orient="horz" pos="305">
          <p15:clr>
            <a:srgbClr val="FBAE40"/>
          </p15:clr>
        </p15:guide>
        <p15:guide id="6" orient="horz" pos="974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936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B54EDF0-EE16-F249-BE06-487F678FF89B}"/>
              </a:ext>
            </a:extLst>
          </p:cNvPr>
          <p:cNvSpPr/>
          <p:nvPr/>
        </p:nvSpPr>
        <p:spPr>
          <a:xfrm>
            <a:off x="6457951" y="1554479"/>
            <a:ext cx="5048249" cy="42603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2A61A17-3CE4-794D-9056-719C8031E2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6039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457950" y="1554479"/>
            <a:ext cx="5048249" cy="4260395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34E907-8ECD-A247-90F0-8089C11A745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964976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68">
          <p15:clr>
            <a:srgbClr val="FBAE40"/>
          </p15:clr>
        </p15:guide>
        <p15:guide id="2" pos="3612">
          <p15:clr>
            <a:srgbClr val="FBAE40"/>
          </p15:clr>
        </p15:guide>
        <p15:guide id="3" pos="429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305">
          <p15:clr>
            <a:srgbClr val="FBAE40"/>
          </p15:clr>
        </p15:guide>
        <p15:guide id="6" orient="horz" pos="918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89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8442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B54EDF0-EE16-F249-BE06-487F678FF89B}"/>
              </a:ext>
            </a:extLst>
          </p:cNvPr>
          <p:cNvSpPr/>
          <p:nvPr/>
        </p:nvSpPr>
        <p:spPr>
          <a:xfrm>
            <a:off x="685801" y="1554480"/>
            <a:ext cx="10820400" cy="42426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85800" y="1554479"/>
            <a:ext cx="10820400" cy="424263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E6ADEF-C73F-4445-99EA-1ADFC12EE67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3705974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974">
          <p15:clr>
            <a:srgbClr val="FBAE40"/>
          </p15:clr>
        </p15:guide>
        <p15:guide id="6" orient="horz" pos="3792">
          <p15:clr>
            <a:srgbClr val="FBAE40"/>
          </p15:clr>
        </p15:guide>
        <p15:guide id="8" orient="horz" pos="414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948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90563" y="1554479"/>
            <a:ext cx="10820400" cy="4283614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E6ADEF-C73F-4445-99EA-1ADFC12EE67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164909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974">
          <p15:clr>
            <a:srgbClr val="FBAE40"/>
          </p15:clr>
        </p15:guide>
        <p15:guide id="6" orient="horz" pos="3792">
          <p15:clr>
            <a:srgbClr val="FBAE40"/>
          </p15:clr>
        </p15:guide>
        <p15:guide id="8" orient="horz" pos="414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B43944D-6D92-4F40-BFAA-5B27C8ABD3E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245249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305">
          <p15:clr>
            <a:srgbClr val="FBAE40"/>
          </p15:clr>
        </p15:guide>
        <p15:guide id="4" orient="horz" pos="918">
          <p15:clr>
            <a:srgbClr val="FBAE40"/>
          </p15:clr>
        </p15:guide>
        <p15:guide id="5" orient="horz" pos="3789">
          <p15:clr>
            <a:srgbClr val="FBAE40"/>
          </p15:clr>
        </p15:guide>
        <p15:guide id="7" orient="horz" pos="414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14AD9C5-6228-ED44-889E-6904764410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7CB764-653A-3D40-A383-E25B1CA34C60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C25B89-0A47-6847-B754-E3CA7837F7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723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1">
          <p15:clr>
            <a:srgbClr val="FBAE40"/>
          </p15:clr>
        </p15:guide>
        <p15:guide id="2" pos="429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3789">
          <p15:clr>
            <a:srgbClr val="FBAE40"/>
          </p15:clr>
        </p15:guide>
        <p15:guide id="7" orient="horz" pos="414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ight blue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498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06201F-83F0-4304-B1F9-B02CCDB0F90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3588" y="3789363"/>
            <a:ext cx="10136187" cy="1462087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994940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86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0100"/>
            <a:ext cx="9089516" cy="201930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19400"/>
            <a:ext cx="10839448" cy="1371599"/>
          </a:xfrm>
        </p:spPr>
        <p:txBody>
          <a:bodyPr/>
          <a:lstStyle>
            <a:lvl1pPr marL="0" indent="0" algn="l">
              <a:buNone/>
              <a:defRPr sz="3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805E39-2073-418B-A986-F392C9B3BE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6" y="4343400"/>
            <a:ext cx="5254625" cy="7048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CB8D2B-0080-194E-8F31-E630E9CA43B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451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light blue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542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50DA8-42F8-45FD-9083-3FD90963044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3588" y="3789363"/>
            <a:ext cx="10734675" cy="165735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216222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4496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C0B21A-34FD-434E-AD6A-6FD7FA899829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E1FCE1-4399-4142-8D1B-EC751D53CBD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763588" y="3789363"/>
            <a:ext cx="10664825" cy="146208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0BD4CA-9931-9E4E-BB70-EA84A5F4CE3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1711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843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7BB59BB-CB13-104E-A23E-FC98C0B84C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Bring picture placeholder to front. Click on icon to insert picture. Send picture to back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1B6C995-740F-9D43-90F7-B61814D2A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1998" cy="6858000"/>
          </a:xfrm>
          <a:gradFill flip="none" rotWithShape="1">
            <a:gsLst>
              <a:gs pos="35000">
                <a:srgbClr val="C3DEF9"/>
              </a:gs>
              <a:gs pos="60000">
                <a:srgbClr val="C3DEF9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>
            <a:lvl1pPr algn="ctr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is is an overlay. Select and send to back to insert imag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485110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EAD11C-819C-6B4B-90E9-E4EC57663D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120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EAD11C-819C-6B4B-90E9-E4EC57663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7BB59BB-CB13-104E-A23E-FC98C0B84C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Bring picture placeholder to front. Click on icon to insert picture. Send picture to back.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1B6C995-740F-9D43-90F7-B61814D2A3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1998" cy="6858000"/>
          </a:xfrm>
          <a:gradFill flip="none" rotWithShape="1">
            <a:gsLst>
              <a:gs pos="35000">
                <a:srgbClr val="C3DEF9"/>
              </a:gs>
              <a:gs pos="60000">
                <a:srgbClr val="C3DEF9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>
            <a:lvl1pPr algn="ctr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is is an overlay. Select and send to back to insert imag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3059" y="1411287"/>
            <a:ext cx="7315200" cy="2377440"/>
          </a:xfrm>
        </p:spPr>
        <p:txBody>
          <a:bodyPr anchor="t"/>
          <a:lstStyle>
            <a:lvl1pPr algn="l">
              <a:lnSpc>
                <a:spcPct val="100000"/>
              </a:lnSpc>
              <a:defRPr sz="7200" b="0" cap="none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1976529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24161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544A32-2950-5840-B535-B41E4F58B9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20361" y="2383747"/>
            <a:ext cx="3943453" cy="14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8920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3F6D07F-A63F-E542-B09E-E79310F1A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90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3F6D07F-A63F-E542-B09E-E79310F1A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2434B36-8E71-9446-A1BC-5D5BF99F32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20362" y="2362297"/>
            <a:ext cx="3943452" cy="14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3948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9942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5B91738-4B95-2140-9C94-01849D0CBA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3260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2EE55E4-2AC4-1643-B946-18BF3435E2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A8A2AFC-14B9-4E44-807C-AA683A7D1D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86468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9041BBF7-1139-944E-BB1F-E4A521CA4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7136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708A00-168A-1744-A1FD-95C224DF40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87803" y="3133725"/>
            <a:ext cx="2423160" cy="2286000"/>
          </a:xfrm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82E5E583-0CCC-5749-A61E-8B68166D0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84774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73B3615F-7B7F-C049-A051-269B92BDA1E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86288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7BED6C5F-628A-634C-A1BE-5BCC177EAC2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87803" y="1546225"/>
            <a:ext cx="2423160" cy="1094189"/>
          </a:xfrm>
        </p:spPr>
        <p:txBody>
          <a:bodyPr/>
          <a:lstStyle>
            <a:lvl1pPr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8E43F54-A4C7-E048-AEC6-C190217EF53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71135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pos="7251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305">
          <p15:clr>
            <a:srgbClr val="FBAE40"/>
          </p15:clr>
        </p15:guide>
        <p15:guide id="6" pos="1968">
          <p15:clr>
            <a:srgbClr val="FBAE40"/>
          </p15:clr>
        </p15:guide>
        <p15:guide id="7" pos="2184">
          <p15:clr>
            <a:srgbClr val="FBAE40"/>
          </p15:clr>
        </p15:guide>
        <p15:guide id="8" pos="3720">
          <p15:clr>
            <a:srgbClr val="FBAE40"/>
          </p15:clr>
        </p15:guide>
        <p15:guide id="9" pos="3960">
          <p15:clr>
            <a:srgbClr val="FBAE40"/>
          </p15:clr>
        </p15:guide>
        <p15:guide id="10" pos="5472">
          <p15:clr>
            <a:srgbClr val="FBAE40"/>
          </p15:clr>
        </p15:guide>
        <p15:guide id="11" pos="5712">
          <p15:clr>
            <a:srgbClr val="FBAE40"/>
          </p15:clr>
        </p15:guide>
        <p15:guide id="12" orient="horz" pos="1663">
          <p15:clr>
            <a:srgbClr val="FBAE40"/>
          </p15:clr>
        </p15:guide>
        <p15:guide id="13" orient="horz" pos="1968">
          <p15:clr>
            <a:srgbClr val="FBAE40"/>
          </p15:clr>
        </p15:guide>
        <p15:guide id="15" orient="horz" pos="4145">
          <p15:clr>
            <a:srgbClr val="FBAE40"/>
          </p15:clr>
        </p15:guide>
        <p15:guide id="16" orient="horz" pos="379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884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1177A3D-4A3B-7947-AEC5-B449F32D17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124200"/>
            <a:ext cx="3149600" cy="2752817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D277856-EAAC-5045-8D25-579EF6B0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1708" y="3124200"/>
            <a:ext cx="3149600" cy="2752817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AEEC403-2E22-7449-9722-70875FDAA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7616" y="3124200"/>
            <a:ext cx="3149600" cy="2752817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8CFE25B-CB8D-2942-8363-87001A496E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800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C71ADF9-E7ED-A84F-A07E-475C447D3F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75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3C59C0B-0B99-8946-A964-B883A7CF6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61363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0435EC5-7AF3-ED45-A2D1-126EEFDB608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3867185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  <p15:guide id="13" orient="horz" pos="196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907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1177A3D-4A3B-7947-AEC5-B449F32D17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3124201"/>
            <a:ext cx="3149600" cy="2726184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D277856-EAAC-5045-8D25-579EF6B0A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1708" y="3124200"/>
            <a:ext cx="3149600" cy="272618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AEEC403-2E22-7449-9722-70875FDAA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7616" y="3124200"/>
            <a:ext cx="3149600" cy="272618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8CFE25B-CB8D-2942-8363-87001A496E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5800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C71ADF9-E7ED-A84F-A07E-475C447D3F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4375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3C59C0B-0B99-8946-A964-B883A7CF6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61363" y="1552576"/>
            <a:ext cx="3149600" cy="1343026"/>
          </a:xfrm>
        </p:spPr>
        <p:txBody>
          <a:bodyPr anchor="t"/>
          <a:lstStyle>
            <a:lvl1pPr algn="ctr">
              <a:defRPr sz="8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0435EC5-7AF3-ED45-A2D1-126EEFDB608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3547468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  <p15:guide id="13" orient="horz" pos="1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DC9BB1A-AC70-D244-A34D-284FE1D902F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EA2F1B1-9452-3B47-A410-6A92F8E7F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3013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0">
          <p15:clr>
            <a:srgbClr val="FBAE40"/>
          </p15:clr>
        </p15:guide>
        <p15:guide id="2" pos="7248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5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atistics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E98416-ED3F-DA4E-8DAD-172FB9B1A3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604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E98416-ED3F-DA4E-8DAD-172FB9B1A3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BA4B35-07F1-924E-A4FB-E9D9F6765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5A373B-F92F-AD4D-ACB1-2A44B9F696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95625" y="1752600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F6735D1-DD43-874F-A02D-C8C48903BB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1552576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7C01DEE-14A2-DE44-98D6-0BFE7F615D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95625" y="3876675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0A6BDAC-0412-8943-B027-07A2B58B9C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3676651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3080F4-ADD6-8B4C-900B-D999C52FCE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34451" y="1752600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84C6C70-4A44-1042-BE56-7AADBDA24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4626" y="1552576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5C41753-5911-7E4B-961D-22FADC3D56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34451" y="3876675"/>
            <a:ext cx="2571749" cy="1188720"/>
          </a:xfrm>
        </p:spPr>
        <p:txBody>
          <a:bodyPr/>
          <a:lstStyle/>
          <a:p>
            <a:pPr lvl="0"/>
            <a:r>
              <a:rPr lang="en-US"/>
              <a:t>Click to edit content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00562E4-0171-C74A-AC57-85230A0231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4626" y="3676651"/>
            <a:ext cx="2409825" cy="1343026"/>
          </a:xfrm>
        </p:spPr>
        <p:txBody>
          <a:bodyPr anchor="t"/>
          <a:lstStyle>
            <a:lvl1pPr>
              <a:defRPr sz="8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71F6816-DFC3-AB4A-B1D5-6204CF5FE92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266306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9">
          <p15:clr>
            <a:srgbClr val="FBAE40"/>
          </p15:clr>
        </p15:guide>
        <p15:guide id="2" pos="7251">
          <p15:clr>
            <a:srgbClr val="FBAE40"/>
          </p15:clr>
        </p15:guide>
        <p15:guide id="3" pos="4100">
          <p15:clr>
            <a:srgbClr val="FBAE40"/>
          </p15:clr>
        </p15:guide>
        <p15:guide id="4" pos="3575">
          <p15:clr>
            <a:srgbClr val="FBAE40"/>
          </p15:clr>
        </p15:guide>
        <p15:guide id="5" orient="horz" pos="4152">
          <p15:clr>
            <a:srgbClr val="FBAE40"/>
          </p15:clr>
        </p15:guide>
        <p15:guide id="6" orient="horz" pos="307">
          <p15:clr>
            <a:srgbClr val="FBAE40"/>
          </p15:clr>
        </p15:guide>
        <p15:guide id="7" orient="horz" pos="91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 blue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51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C7D2DE-9827-1847-9B57-1998229B54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4162425"/>
            <a:ext cx="4657724" cy="876632"/>
          </a:xfrm>
        </p:spPr>
        <p:txBody>
          <a:bodyPr/>
          <a:lstStyle>
            <a:lvl1pPr marL="9525" indent="0">
              <a:buFont typeface="System Font Regular"/>
              <a:buNone/>
              <a:tabLst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7A3446-F8E2-3146-BA41-1032A482FCB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38301"/>
            <a:ext cx="6781799" cy="2343150"/>
          </a:xfrm>
        </p:spPr>
        <p:txBody>
          <a:bodyPr/>
          <a:lstStyle>
            <a:lvl1pPr marL="179388" indent="-179388">
              <a:lnSpc>
                <a:spcPct val="100000"/>
              </a:lnSpc>
              <a:buNone/>
              <a:tabLst/>
              <a:defRPr sz="4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“Click to edit quote. Lorem ipsum dolor sit amet, </a:t>
            </a:r>
            <a:r>
              <a:rPr lang="en-US" err="1"/>
              <a:t>consectetuer</a:t>
            </a:r>
            <a:r>
              <a:rPr lang="en-US"/>
              <a:t>.”</a:t>
            </a:r>
          </a:p>
        </p:txBody>
      </p:sp>
    </p:spTree>
    <p:extLst>
      <p:ext uri="{BB962C8B-B14F-4D97-AF65-F5344CB8AC3E}">
        <p14:creationId xmlns:p14="http://schemas.microsoft.com/office/powerpoint/2010/main" val="14552308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0941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DC7D2DE-9827-1847-9B57-1998229B54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4162425"/>
            <a:ext cx="4657724" cy="876632"/>
          </a:xfrm>
        </p:spPr>
        <p:txBody>
          <a:bodyPr/>
          <a:lstStyle>
            <a:lvl1pPr marL="9525" indent="-9525">
              <a:buFont typeface="System Font Regular"/>
              <a:buNone/>
              <a:tabLst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nam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17A3446-F8E2-3146-BA41-1032A482FCB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38301"/>
            <a:ext cx="6781799" cy="2343150"/>
          </a:xfrm>
        </p:spPr>
        <p:txBody>
          <a:bodyPr/>
          <a:lstStyle>
            <a:lvl1pPr marL="179388" indent="-179388">
              <a:lnSpc>
                <a:spcPct val="100000"/>
              </a:lnSpc>
              <a:buNone/>
              <a:tabLst/>
              <a:defRPr sz="4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“Click to edit quote. Lorem ipsum dolor sit amet, </a:t>
            </a:r>
            <a:r>
              <a:rPr lang="en-US" err="1"/>
              <a:t>consectetuer</a:t>
            </a:r>
            <a:r>
              <a:rPr lang="en-US"/>
              <a:t>.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B031E3-F81C-1243-BF01-61FFFCDD7542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6C3A00-852F-484A-97E9-46F8B77C499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6309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2988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3911"/>
            <a:ext cx="6199086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35404"/>
            <a:ext cx="5486400" cy="1507996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A6277B-20C5-423E-B414-405623D3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8042"/>
            <a:ext cx="5486400" cy="92868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E4E4144-041D-49AA-9014-C5418974F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20293" r="17591"/>
          <a:stretch/>
        </p:blipFill>
        <p:spPr>
          <a:xfrm>
            <a:off x="6604000" y="-8878"/>
            <a:ext cx="5588000" cy="54047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7ED1FBB-3271-334A-9467-2D6E9E69AB7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5986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057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797642"/>
            <a:ext cx="7664448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09323"/>
            <a:ext cx="7664448" cy="128079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6F5AC9-E4C4-41AA-884C-9D65502644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399"/>
            <a:ext cx="4541838" cy="97370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C2D02CAB-940A-4626-B0D3-2014CBC27B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4896" r="34473" b="17572"/>
          <a:stretch/>
        </p:blipFill>
        <p:spPr>
          <a:xfrm>
            <a:off x="6494010" y="470725"/>
            <a:ext cx="4780631" cy="49269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44D3BF1-777D-EF49-8E9C-CBF5AE0C8A0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8953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rgbClr val="C3DE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835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7474"/>
            <a:ext cx="58007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6276" y="2819399"/>
            <a:ext cx="5162549" cy="1219447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AC9C9E3-8423-44B8-A95F-6F11501854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711700" cy="758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73A5F40-EA22-4E5E-8551-CC19E18179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10791" b="10236"/>
          <a:stretch/>
        </p:blipFill>
        <p:spPr>
          <a:xfrm>
            <a:off x="5387975" y="-10119"/>
            <a:ext cx="6828585" cy="539269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316748D-279F-664B-9E63-17A3F759747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3211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466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9932"/>
            <a:ext cx="5852160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21612"/>
            <a:ext cx="5486399" cy="1052298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DB92A2-288E-4509-B168-B13B50C020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013200" cy="758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1449E5C-422E-48D1-BFD0-76D26E85F4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1" t="21679" r="977"/>
          <a:stretch/>
        </p:blipFill>
        <p:spPr>
          <a:xfrm>
            <a:off x="5358662" y="-17755"/>
            <a:ext cx="6833338" cy="540474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59C9FE7-BDF8-544D-9C65-72E6E3A5DD2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3144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800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9951"/>
            <a:ext cx="67532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21631"/>
            <a:ext cx="5486399" cy="1020442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AF4D27-7681-462E-859E-C63E3CF05F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052888" cy="838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56AB389-6986-4D7F-B9B4-E616224F2D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b="6145"/>
          <a:stretch/>
        </p:blipFill>
        <p:spPr>
          <a:xfrm>
            <a:off x="5601810" y="-682383"/>
            <a:ext cx="6476213" cy="607825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F3F6586-BC95-174D-B641-82F4E58E5C4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0405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197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797642"/>
            <a:ext cx="67532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19400"/>
            <a:ext cx="5486399" cy="995516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27D77E-A6BB-438E-B0BB-318CCA9B0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343400"/>
            <a:ext cx="4849813" cy="758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EE69D27-BC45-4783-B1C4-FE8B207114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6842" r="10970" b="13899"/>
          <a:stretch/>
        </p:blipFill>
        <p:spPr>
          <a:xfrm>
            <a:off x="5129418" y="6620"/>
            <a:ext cx="7062582" cy="53892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1AC1052-5426-1848-A915-1ECF5BE6A17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3904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F50D79-3D76-A742-B17B-206C06186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081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F50D79-3D76-A742-B17B-206C06186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DA4983B-2D18-4C45-8655-49D75E8E83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1998" cy="5486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r>
              <a:rPr lang="en-US"/>
              <a:t>Bring picture placeholder to front. Click on icon to insert picture. Send picture to back.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EAE58D9-AEE9-D948-98A7-255E23E4A7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1998" cy="5486400"/>
          </a:xfrm>
          <a:gradFill flip="none" rotWithShape="1">
            <a:gsLst>
              <a:gs pos="35000">
                <a:srgbClr val="C3DEF9"/>
              </a:gs>
              <a:gs pos="60000">
                <a:srgbClr val="C3DEF9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>
            <a:lvl1pPr algn="ctr">
              <a:defRPr lang="en-US" sz="1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This is an overlay. Select and send to back to insert imag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6276" y="800100"/>
            <a:ext cx="6334124" cy="2011680"/>
          </a:xfrm>
        </p:spPr>
        <p:txBody>
          <a:bodyPr/>
          <a:lstStyle>
            <a:lvl1pPr>
              <a:lnSpc>
                <a:spcPct val="90000"/>
              </a:lnSpc>
              <a:defRPr sz="6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6276" y="2825544"/>
            <a:ext cx="5486400" cy="1353166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508BD9-A70A-46DE-9B4F-2FCCA30C6F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6275" y="4343400"/>
            <a:ext cx="4437063" cy="8286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B02C21-247E-9340-BC9C-6C97543EE7F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5386333"/>
            <a:ext cx="12192000" cy="147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271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DC9BB1A-AC70-D244-A34D-284FE1D902F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F5FC9D-25EF-E44C-9CF9-C110B8341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0451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0">
          <p15:clr>
            <a:srgbClr val="FBAE40"/>
          </p15:clr>
        </p15:guide>
        <p15:guide id="2" pos="7248">
          <p15:clr>
            <a:srgbClr val="FBAE40"/>
          </p15:clr>
        </p15:guide>
        <p15:guide id="4" orient="horz" pos="974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5">
          <p15:clr>
            <a:srgbClr val="FBAE40"/>
          </p15:clr>
        </p15:guide>
        <p15:guide id="7" orient="horz" pos="3792">
          <p15:clr>
            <a:srgbClr val="FBAE40"/>
          </p15:clr>
        </p15:guide>
        <p15:guide id="9" orient="horz" pos="414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chart n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8"/>
            <a:ext cx="10820400" cy="96670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251225CD-4C36-CB43-A45B-21266AC5A3A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85801" y="1554479"/>
            <a:ext cx="10820399" cy="4353937"/>
          </a:xfrm>
          <a:prstGeom prst="rect">
            <a:avLst/>
          </a:prstGeom>
          <a:noFill/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E6ADEF-C73F-4445-99EA-1ADFC12EE67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783952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2">
          <p15:clr>
            <a:srgbClr val="FBAE40"/>
          </p15:clr>
        </p15:guide>
        <p15:guide id="2" pos="5438">
          <p15:clr>
            <a:srgbClr val="FBAE40"/>
          </p15:clr>
        </p15:guide>
        <p15:guide id="3" orient="horz" pos="918">
          <p15:clr>
            <a:srgbClr val="FBAE40"/>
          </p15:clr>
        </p15:guide>
        <p15:guide id="4" orient="horz" pos="305">
          <p15:clr>
            <a:srgbClr val="FBAE40"/>
          </p15:clr>
        </p15:guide>
        <p15:guide id="5" orient="horz" pos="974">
          <p15:clr>
            <a:srgbClr val="FBAE40"/>
          </p15:clr>
        </p15:guide>
        <p15:guide id="6" orient="horz" pos="3792">
          <p15:clr>
            <a:srgbClr val="FBAE40"/>
          </p15:clr>
        </p15:guide>
        <p15:guide id="8" orient="horz" pos="414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554480"/>
            <a:ext cx="10820400" cy="42337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5912A0-2096-8547-ACCA-E84C356C065B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2ECBA4B-6198-5D4F-A9C6-90701BABD07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6179E91C-EA2A-EE4B-8F2E-F744CD71D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6655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900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4">
          <p15:clr>
            <a:srgbClr val="FBAE40"/>
          </p15:clr>
        </p15:guide>
        <p15:guide id="2" orient="horz" pos="916">
          <p15:clr>
            <a:srgbClr val="FBAE40"/>
          </p15:clr>
        </p15:guide>
        <p15:guide id="3" orient="horz" pos="974">
          <p15:clr>
            <a:srgbClr val="FBAE40"/>
          </p15:clr>
        </p15:guide>
        <p15:guide id="4" orient="horz" pos="3792">
          <p15:clr>
            <a:srgbClr val="FBAE40"/>
          </p15:clr>
        </p15:guide>
        <p15:guide id="6" pos="430">
          <p15:clr>
            <a:srgbClr val="FBAE40"/>
          </p15:clr>
        </p15:guide>
        <p15:guide id="7" pos="7251">
          <p15:clr>
            <a:srgbClr val="FBAE40"/>
          </p15:clr>
        </p15:guide>
        <p15:guide id="8" orient="horz" pos="414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8678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7950" y="1554480"/>
            <a:ext cx="504825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708020E-DEAF-844C-846B-6B06F69D7C6F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2826322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2">
          <p15:clr>
            <a:srgbClr val="FBAE40"/>
          </p15:clr>
        </p15:guide>
        <p15:guide id="2" pos="4068">
          <p15:clr>
            <a:srgbClr val="FBAE40"/>
          </p15:clr>
        </p15:guide>
        <p15:guide id="3" pos="430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304">
          <p15:clr>
            <a:srgbClr val="FBAE40"/>
          </p15:clr>
        </p15:guide>
        <p15:guide id="6" orient="horz" pos="916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89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930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9590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7950" y="1554480"/>
            <a:ext cx="5048250" cy="4295904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708020E-DEAF-844C-846B-6B06F69D7C6F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1839407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2">
          <p15:clr>
            <a:srgbClr val="FBAE40"/>
          </p15:clr>
        </p15:guide>
        <p15:guide id="2" pos="4068">
          <p15:clr>
            <a:srgbClr val="FBAE40"/>
          </p15:clr>
        </p15:guide>
        <p15:guide id="3" pos="430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304">
          <p15:clr>
            <a:srgbClr val="FBAE40"/>
          </p15:clr>
        </p15:guide>
        <p15:guide id="6" orient="horz" pos="916">
          <p15:clr>
            <a:srgbClr val="FBAE40"/>
          </p15:clr>
        </p15:guide>
        <p15:guide id="7" orient="horz" pos="974">
          <p15:clr>
            <a:srgbClr val="FBAE40"/>
          </p15:clr>
        </p15:guide>
        <p15:guide id="8" orient="horz" pos="3789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337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5048250" cy="422488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7950" y="1554480"/>
            <a:ext cx="5048250" cy="4224884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defRPr sz="2400">
                <a:solidFill>
                  <a:schemeClr val="bg1"/>
                </a:solidFill>
              </a:defRPr>
            </a:lvl4pPr>
            <a:lvl5pPr>
              <a:defRPr sz="2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A49326E-611B-9141-A285-4871899E6BDD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F4E733E-AB5F-8647-9DEF-DAF91768AC0F}"/>
              </a:ext>
            </a:extLst>
          </p:cNvPr>
          <p:cNvSpPr txBox="1"/>
          <p:nvPr userDrawn="1"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04F0CD-F17C-C34F-AE2B-4564FE91770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76656" y="6076883"/>
            <a:ext cx="1445349" cy="5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703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2">
          <p15:clr>
            <a:srgbClr val="FBAE40"/>
          </p15:clr>
        </p15:guide>
        <p15:guide id="2" pos="4068">
          <p15:clr>
            <a:srgbClr val="FBAE40"/>
          </p15:clr>
        </p15:guide>
        <p15:guide id="3" pos="428">
          <p15:clr>
            <a:srgbClr val="FBAE40"/>
          </p15:clr>
        </p15:guide>
        <p15:guide id="4" pos="7251">
          <p15:clr>
            <a:srgbClr val="FBAE40"/>
          </p15:clr>
        </p15:guide>
        <p15:guide id="5" orient="horz" pos="916">
          <p15:clr>
            <a:srgbClr val="FBAE40"/>
          </p15:clr>
        </p15:guide>
        <p15:guide id="6" orient="horz" pos="304">
          <p15:clr>
            <a:srgbClr val="FBAE40"/>
          </p15:clr>
        </p15:guide>
        <p15:guide id="7" orient="horz" pos="974">
          <p15:clr>
            <a:srgbClr val="FBAE40"/>
          </p15:clr>
        </p15:guide>
        <p15:guide id="9" orient="horz" pos="3792">
          <p15:clr>
            <a:srgbClr val="FBAE40"/>
          </p15:clr>
        </p15:guide>
        <p15:guide id="10" orient="horz" pos="414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12D4E2-1CE6-3241-80D5-B04BAD20C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3344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12D4E2-1CE6-3241-80D5-B04BAD20C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54480"/>
            <a:ext cx="314960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1200" y="1554480"/>
            <a:ext cx="314960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AD33988-952C-7B4B-A870-87C7B7F44473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56600" y="1554480"/>
            <a:ext cx="3149600" cy="426927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807CEAC-2C27-A64B-A088-3F4F42ABFB3A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2743200" y="6255014"/>
            <a:ext cx="8051800" cy="355272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footnote or delete if not using</a:t>
            </a:r>
          </a:p>
        </p:txBody>
      </p:sp>
    </p:spTree>
    <p:extLst>
      <p:ext uri="{BB962C8B-B14F-4D97-AF65-F5344CB8AC3E}">
        <p14:creationId xmlns:p14="http://schemas.microsoft.com/office/powerpoint/2010/main" val="4057397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16">
          <p15:clr>
            <a:srgbClr val="FBAE40"/>
          </p15:clr>
        </p15:guide>
        <p15:guide id="2" pos="2846">
          <p15:clr>
            <a:srgbClr val="FBAE40"/>
          </p15:clr>
        </p15:guide>
        <p15:guide id="3" pos="4834">
          <p15:clr>
            <a:srgbClr val="FBAE40"/>
          </p15:clr>
        </p15:guide>
        <p15:guide id="4" pos="5262">
          <p15:clr>
            <a:srgbClr val="FBAE40"/>
          </p15:clr>
        </p15:guide>
        <p15:guide id="5" pos="428">
          <p15:clr>
            <a:srgbClr val="FBAE40"/>
          </p15:clr>
        </p15:guide>
        <p15:guide id="6" pos="7251">
          <p15:clr>
            <a:srgbClr val="FBAE40"/>
          </p15:clr>
        </p15:guide>
        <p15:guide id="7" orient="horz" pos="306">
          <p15:clr>
            <a:srgbClr val="FBAE40"/>
          </p15:clr>
        </p15:guide>
        <p15:guide id="8" orient="horz" pos="916">
          <p15:clr>
            <a:srgbClr val="FBAE40"/>
          </p15:clr>
        </p15:guide>
        <p15:guide id="9" orient="horz" pos="974">
          <p15:clr>
            <a:srgbClr val="FBAE40"/>
          </p15:clr>
        </p15:guide>
        <p15:guide id="10" orient="horz" pos="3792">
          <p15:clr>
            <a:srgbClr val="FBAE40"/>
          </p15:clr>
        </p15:guide>
        <p15:guide id="12" orient="horz" pos="414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05AB5C1-C09C-4A45-BA68-B59DF3B48E34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952686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7772400" imgH="10058400" progId="TCLayout.ActiveDocument.1">
                  <p:embed/>
                </p:oleObj>
              </mc:Choice>
              <mc:Fallback>
                <p:oleObj name="think-cell Slide" r:id="rId4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05AB5C1-C09C-4A45-BA68-B59DF3B48E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CCA3344-B815-AB4E-9159-EF28A5D04D52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0" i="0" baseline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86167"/>
            <a:ext cx="1082040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54481"/>
            <a:ext cx="10820400" cy="42603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02684D-55E1-A14B-A284-921FEE3CD45A}"/>
              </a:ext>
            </a:extLst>
          </p:cNvPr>
          <p:cNvSpPr txBox="1"/>
          <p:nvPr/>
        </p:nvSpPr>
        <p:spPr>
          <a:xfrm>
            <a:off x="10979151" y="6460625"/>
            <a:ext cx="52704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84B776E8-6F0A-4B47-BBB8-2D0E19A0C3AC}" type="slidenum">
              <a:rPr lang="en-US" sz="1000" smtClean="0"/>
              <a:pPr algn="r"/>
              <a:t>‹#›</a:t>
            </a:fld>
            <a:endParaRPr lang="en-US" sz="10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00682A-6378-764D-85DE-3507FC05C8B0}"/>
              </a:ext>
            </a:extLst>
          </p:cNvPr>
          <p:cNvPicPr>
            <a:picLocks noChangeAspect="1"/>
          </p:cNvPicPr>
          <p:nvPr userDrawn="1"/>
        </p:nvPicPr>
        <p:blipFill>
          <a:blip r:embed="rId46"/>
          <a:stretch>
            <a:fillRect/>
          </a:stretch>
        </p:blipFill>
        <p:spPr>
          <a:xfrm>
            <a:off x="685800" y="6089238"/>
            <a:ext cx="1423325" cy="5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41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10000"/>
        </a:lnSpc>
        <a:spcBef>
          <a:spcPts val="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34950" indent="-227013" algn="l" defTabSz="4572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460375" indent="-225425" algn="l" defTabSz="457200" rtl="0" eaLnBrk="1" latinLnBrk="0" hangingPunct="1">
        <a:lnSpc>
          <a:spcPct val="110000"/>
        </a:lnSpc>
        <a:spcBef>
          <a:spcPts val="0"/>
        </a:spcBef>
        <a:buFont typeface="System Font Regular"/>
        <a:buChar char="–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5425" algn="l" defTabSz="4572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920750" indent="-234950" algn="l" defTabSz="457200" rtl="0" eaLnBrk="1" latinLnBrk="0" hangingPunct="1">
        <a:lnSpc>
          <a:spcPct val="110000"/>
        </a:lnSpc>
        <a:spcBef>
          <a:spcPts val="0"/>
        </a:spcBef>
        <a:buFont typeface="System Font Regular"/>
        <a:buChar char="–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04">
          <p15:clr>
            <a:srgbClr val="F26B43"/>
          </p15:clr>
        </p15:guide>
        <p15:guide id="4" orient="horz" pos="1776">
          <p15:clr>
            <a:srgbClr val="F26B43"/>
          </p15:clr>
        </p15:guide>
        <p15:guide id="5" orient="horz" pos="27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40.xml"/><Relationship Id="rId7" Type="http://schemas.openxmlformats.org/officeDocument/2006/relationships/chart" Target="../charts/chart7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chart" Target="../charts/chart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31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4.bin"/><Relationship Id="rId10" Type="http://schemas.openxmlformats.org/officeDocument/2006/relationships/chart" Target="../charts/chart10.xml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40.xml"/><Relationship Id="rId7" Type="http://schemas.openxmlformats.org/officeDocument/2006/relationships/chart" Target="../charts/chart1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14.xml"/><Relationship Id="rId9" Type="http://schemas.openxmlformats.org/officeDocument/2006/relationships/chart" Target="../charts/char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6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chart" Target="../charts/chart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40.xml"/><Relationship Id="rId7" Type="http://schemas.openxmlformats.org/officeDocument/2006/relationships/chart" Target="../charts/chart3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40.xml"/><Relationship Id="rId7" Type="http://schemas.openxmlformats.org/officeDocument/2006/relationships/chart" Target="../charts/chart5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8.xml"/><Relationship Id="rId9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28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1CD307-21CA-F943-BF38-5D987122B4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1CD307-21CA-F943-BF38-5D987122B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778954E-6BBE-FA4F-B59A-75966C03D0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6276" y="809932"/>
            <a:ext cx="5852160" cy="2011680"/>
          </a:xfrm>
        </p:spPr>
        <p:txBody>
          <a:bodyPr/>
          <a:lstStyle/>
          <a:p>
            <a:r>
              <a:rPr lang="en-US" sz="6000" dirty="0"/>
              <a:t>Oral Health Integration</a:t>
            </a:r>
            <a:br>
              <a:rPr lang="en-US" sz="6000" dirty="0"/>
            </a:br>
            <a:r>
              <a:rPr lang="en-US" sz="4400" dirty="0"/>
              <a:t>Attitudes on Medical-Dental Collaboration</a:t>
            </a:r>
            <a:endParaRPr lang="en-US" sz="60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03D06A-8890-4727-8270-B7C0B98FFE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6276" y="4932343"/>
            <a:ext cx="11426964" cy="758825"/>
          </a:xfrm>
        </p:spPr>
        <p:txBody>
          <a:bodyPr/>
          <a:lstStyle/>
          <a:p>
            <a:r>
              <a:rPr lang="en-US" dirty="0"/>
              <a:t>NOHC April 11 , 2022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E91F57-B61A-4A56-862E-C04D95FD1ABA}"/>
              </a:ext>
            </a:extLst>
          </p:cNvPr>
          <p:cNvSpPr txBox="1"/>
          <p:nvPr/>
        </p:nvSpPr>
        <p:spPr>
          <a:xfrm>
            <a:off x="3175819" y="5761703"/>
            <a:ext cx="89274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Adrianna Sonnek, MPH, Lisa J. Heaton, PhD,  Madhuli Thakkar-Samtani, BDS, MPH,</a:t>
            </a:r>
          </a:p>
          <a:p>
            <a:r>
              <a:rPr lang="en-US" dirty="0">
                <a:solidFill>
                  <a:schemeClr val="tx2"/>
                </a:solidFill>
              </a:rPr>
              <a:t>Eric P. Tranby, PhD</a:t>
            </a:r>
          </a:p>
        </p:txBody>
      </p:sp>
    </p:spTree>
    <p:extLst>
      <p:ext uri="{BB962C8B-B14F-4D97-AF65-F5344CB8AC3E}">
        <p14:creationId xmlns:p14="http://schemas.microsoft.com/office/powerpoint/2010/main" val="1841668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654BA3C-9042-4672-975B-9960EFDBEFED}"/>
              </a:ext>
            </a:extLst>
          </p:cNvPr>
          <p:cNvSpPr/>
          <p:nvPr/>
        </p:nvSpPr>
        <p:spPr>
          <a:xfrm>
            <a:off x="7049729" y="934065"/>
            <a:ext cx="4945626" cy="5107614"/>
          </a:xfrm>
          <a:prstGeom prst="rect">
            <a:avLst/>
          </a:prstGeom>
          <a:solidFill>
            <a:srgbClr val="E1F0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45" y="208742"/>
            <a:ext cx="11798710" cy="966701"/>
          </a:xfrm>
        </p:spPr>
        <p:txBody>
          <a:bodyPr>
            <a:noAutofit/>
          </a:bodyPr>
          <a:lstStyle/>
          <a:p>
            <a:r>
              <a:rPr lang="en-US" sz="2400" dirty="0"/>
              <a:t>Health screenings in dental offices are an underutilized opportunity for preventive care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71C1DFB-36F3-4FF2-B6F4-383FED474CED}"/>
              </a:ext>
            </a:extLst>
          </p:cNvPr>
          <p:cNvGraphicFramePr/>
          <p:nvPr/>
        </p:nvGraphicFramePr>
        <p:xfrm>
          <a:off x="196645" y="934066"/>
          <a:ext cx="6774427" cy="5107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956BF4B1-AB67-4411-B378-79BB6822B1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60467" y="1175443"/>
            <a:ext cx="2724150" cy="2857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9136CF8-2B71-477C-9282-ECC97AD9AF97}"/>
              </a:ext>
            </a:extLst>
          </p:cNvPr>
          <p:cNvSpPr txBox="1"/>
          <p:nvPr/>
        </p:nvSpPr>
        <p:spPr>
          <a:xfrm>
            <a:off x="7680960" y="4113981"/>
            <a:ext cx="3882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ver 90% of oral health providers surveyed agree that dietary habits should be assessed in all pati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E93A38-3973-474D-988C-1F82B12CACFC}"/>
              </a:ext>
            </a:extLst>
          </p:cNvPr>
          <p:cNvSpPr txBox="1"/>
          <p:nvPr/>
        </p:nvSpPr>
        <p:spPr>
          <a:xfrm>
            <a:off x="4678533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</p:spTree>
    <p:extLst>
      <p:ext uri="{BB962C8B-B14F-4D97-AF65-F5344CB8AC3E}">
        <p14:creationId xmlns:p14="http://schemas.microsoft.com/office/powerpoint/2010/main" val="15978987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809E61B-7E4B-4428-BF79-A39F5AFF90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6000188"/>
              </p:ext>
            </p:extLst>
          </p:nvPr>
        </p:nvGraphicFramePr>
        <p:xfrm>
          <a:off x="501445" y="727587"/>
          <a:ext cx="11395588" cy="62551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D163346-BDC8-47BF-8A96-85A53B7A1C25}"/>
              </a:ext>
            </a:extLst>
          </p:cNvPr>
          <p:cNvSpPr txBox="1">
            <a:spLocks/>
          </p:cNvSpPr>
          <p:nvPr/>
        </p:nvSpPr>
        <p:spPr>
          <a:xfrm>
            <a:off x="194188" y="136776"/>
            <a:ext cx="1082040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Low levels of screening seen despite comfort level</a:t>
            </a:r>
          </a:p>
        </p:txBody>
      </p:sp>
    </p:spTree>
    <p:extLst>
      <p:ext uri="{BB962C8B-B14F-4D97-AF65-F5344CB8AC3E}">
        <p14:creationId xmlns:p14="http://schemas.microsoft.com/office/powerpoint/2010/main" val="835095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F1AA905-7DE8-4A17-B54D-48A95A505950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rgbClr val="E1F0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17EAA9-5B33-4FD2-A9E8-499E3356D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981" y="486168"/>
            <a:ext cx="11818374" cy="966701"/>
          </a:xfrm>
        </p:spPr>
        <p:txBody>
          <a:bodyPr/>
          <a:lstStyle/>
          <a:p>
            <a:r>
              <a:rPr lang="en-US" dirty="0"/>
              <a:t>Oral health providers need tools to perform health screening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AAA802-369E-4870-B11B-9B6C4E5EB8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43" y="949585"/>
            <a:ext cx="5224731" cy="500876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D56A01E-8FC0-4FAA-9D08-073B5842B45E}"/>
              </a:ext>
            </a:extLst>
          </p:cNvPr>
          <p:cNvSpPr txBox="1"/>
          <p:nvPr/>
        </p:nvSpPr>
        <p:spPr>
          <a:xfrm>
            <a:off x="5516319" y="1939038"/>
            <a:ext cx="667568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2"/>
                </a:solidFill>
              </a:rPr>
              <a:t>While only </a:t>
            </a:r>
            <a:r>
              <a:rPr lang="en-US" sz="2800" b="1" dirty="0">
                <a:solidFill>
                  <a:schemeClr val="bg2">
                    <a:lumMod val="75000"/>
                  </a:schemeClr>
                </a:solidFill>
              </a:rPr>
              <a:t>one third (34%) </a:t>
            </a:r>
            <a:r>
              <a:rPr lang="en-US" sz="2800" dirty="0">
                <a:solidFill>
                  <a:schemeClr val="tx2"/>
                </a:solidFill>
              </a:rPr>
              <a:t>of oral health providers indicate that they </a:t>
            </a:r>
            <a:r>
              <a:rPr lang="en-US" sz="2800" b="1" dirty="0">
                <a:solidFill>
                  <a:schemeClr val="tx2"/>
                </a:solidFill>
              </a:rPr>
              <a:t>currently screen patients for diabetes</a:t>
            </a:r>
            <a:r>
              <a:rPr lang="en-US" sz="2800" dirty="0">
                <a:solidFill>
                  <a:schemeClr val="tx2"/>
                </a:solidFill>
              </a:rPr>
              <a:t>, </a:t>
            </a:r>
          </a:p>
          <a:p>
            <a:r>
              <a:rPr lang="en-US" sz="3200" b="1" dirty="0">
                <a:solidFill>
                  <a:srgbClr val="F36621"/>
                </a:solidFill>
              </a:rPr>
              <a:t>more than half (51%) </a:t>
            </a:r>
            <a:r>
              <a:rPr lang="en-US" sz="2800" dirty="0">
                <a:solidFill>
                  <a:schemeClr val="tx2"/>
                </a:solidFill>
              </a:rPr>
              <a:t>of providers indicate that they would be </a:t>
            </a:r>
            <a:r>
              <a:rPr lang="en-US" sz="2800" b="1" dirty="0">
                <a:solidFill>
                  <a:schemeClr val="tx2"/>
                </a:solidFill>
              </a:rPr>
              <a:t>more willing to screen if they had better tools </a:t>
            </a:r>
            <a:r>
              <a:rPr lang="en-US" sz="2800" dirty="0">
                <a:solidFill>
                  <a:schemeClr val="tx2"/>
                </a:solidFill>
              </a:rPr>
              <a:t>to identify those at ris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523618-F0E2-4FA6-A693-A0D84E64F33C}"/>
              </a:ext>
            </a:extLst>
          </p:cNvPr>
          <p:cNvSpPr txBox="1"/>
          <p:nvPr/>
        </p:nvSpPr>
        <p:spPr>
          <a:xfrm>
            <a:off x="4678533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</p:spTree>
    <p:extLst>
      <p:ext uri="{BB962C8B-B14F-4D97-AF65-F5344CB8AC3E}">
        <p14:creationId xmlns:p14="http://schemas.microsoft.com/office/powerpoint/2010/main" val="35884038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654BA3C-9042-4672-975B-9960EFDBEFED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rgbClr val="E1F0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45" y="208742"/>
            <a:ext cx="11798710" cy="966701"/>
          </a:xfrm>
        </p:spPr>
        <p:txBody>
          <a:bodyPr>
            <a:noAutofit/>
          </a:bodyPr>
          <a:lstStyle/>
          <a:p>
            <a:r>
              <a:rPr lang="en-US" sz="2400" dirty="0"/>
              <a:t>Dental Offices are an untapped resource for vaccine distribu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136CF8-2B71-477C-9282-ECC97AD9AF97}"/>
              </a:ext>
            </a:extLst>
          </p:cNvPr>
          <p:cNvSpPr txBox="1"/>
          <p:nvPr/>
        </p:nvSpPr>
        <p:spPr>
          <a:xfrm>
            <a:off x="7022874" y="4701559"/>
            <a:ext cx="44201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</a:rPr>
              <a:t>Nearly a third of adults (31%) </a:t>
            </a:r>
          </a:p>
          <a:p>
            <a:r>
              <a:rPr lang="en-US" dirty="0">
                <a:solidFill>
                  <a:schemeClr val="tx2"/>
                </a:solidFill>
              </a:rPr>
              <a:t>report that they would consider receiving a flu vaccine from their dentis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3B31EA-DC2A-4A59-827B-59189640A0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23481" y="1175443"/>
            <a:ext cx="2886075" cy="2695575"/>
          </a:xfrm>
          <a:prstGeom prst="rect">
            <a:avLst/>
          </a:prstGeom>
        </p:spPr>
      </p:pic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BF7D4ACF-DB1B-4863-A406-01C54718D6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4038271"/>
              </p:ext>
            </p:extLst>
          </p:nvPr>
        </p:nvGraphicFramePr>
        <p:xfrm>
          <a:off x="5489679" y="618833"/>
          <a:ext cx="6702321" cy="43636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45880A55-2F8C-418F-AB57-DEDEDD47EA5B}"/>
              </a:ext>
            </a:extLst>
          </p:cNvPr>
          <p:cNvSpPr txBox="1"/>
          <p:nvPr/>
        </p:nvSpPr>
        <p:spPr>
          <a:xfrm>
            <a:off x="1720845" y="4701559"/>
            <a:ext cx="415968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</a:rPr>
              <a:t>More than a third of adults (34%) </a:t>
            </a:r>
            <a:r>
              <a:rPr lang="en-US" dirty="0">
                <a:solidFill>
                  <a:schemeClr val="tx2"/>
                </a:solidFill>
              </a:rPr>
              <a:t>report that they would be comfortable receiving a COVID-19 vaccine or booster from a dentis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800CFFA-52C0-44AB-8F83-933486B703E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57946" y="1254793"/>
            <a:ext cx="2683091" cy="2805050"/>
          </a:xfrm>
          <a:prstGeom prst="rect">
            <a:avLst/>
          </a:prstGeom>
        </p:spPr>
      </p:pic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FC048644-E2C0-41FB-95A6-3F9C9BB6A7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1394553"/>
              </p:ext>
            </p:extLst>
          </p:nvPr>
        </p:nvGraphicFramePr>
        <p:xfrm>
          <a:off x="258599" y="610201"/>
          <a:ext cx="6702321" cy="43636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0E01A5E0-5FB7-4920-860F-557F8ECE01FC}"/>
              </a:ext>
            </a:extLst>
          </p:cNvPr>
          <p:cNvSpPr txBox="1"/>
          <p:nvPr/>
        </p:nvSpPr>
        <p:spPr>
          <a:xfrm>
            <a:off x="4678533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</p:spTree>
    <p:extLst>
      <p:ext uri="{BB962C8B-B14F-4D97-AF65-F5344CB8AC3E}">
        <p14:creationId xmlns:p14="http://schemas.microsoft.com/office/powerpoint/2010/main" val="21479912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6099" y="208742"/>
            <a:ext cx="8115300" cy="966701"/>
          </a:xfrm>
        </p:spPr>
        <p:txBody>
          <a:bodyPr>
            <a:noAutofit/>
          </a:bodyPr>
          <a:lstStyle/>
          <a:p>
            <a:r>
              <a:rPr lang="en-US" sz="2400" dirty="0"/>
              <a:t>Co-location of dental and medical services is desired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71C1DFB-36F3-4FF2-B6F4-383FED474C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942260"/>
              </p:ext>
            </p:extLst>
          </p:nvPr>
        </p:nvGraphicFramePr>
        <p:xfrm>
          <a:off x="294968" y="806246"/>
          <a:ext cx="6692344" cy="5245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F284C9E-6EDC-4ABC-A37E-869B10F9D4A7}"/>
              </a:ext>
            </a:extLst>
          </p:cNvPr>
          <p:cNvSpPr txBox="1"/>
          <p:nvPr/>
        </p:nvSpPr>
        <p:spPr>
          <a:xfrm>
            <a:off x="4678533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318A33-D83D-4E50-A063-AD5175AD963F}"/>
              </a:ext>
            </a:extLst>
          </p:cNvPr>
          <p:cNvSpPr/>
          <p:nvPr/>
        </p:nvSpPr>
        <p:spPr>
          <a:xfrm>
            <a:off x="7026904" y="526233"/>
            <a:ext cx="4945626" cy="5951190"/>
          </a:xfrm>
          <a:prstGeom prst="rect">
            <a:avLst/>
          </a:prstGeom>
          <a:solidFill>
            <a:srgbClr val="E1F0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E8D68C-8020-4BA1-A305-A8CBB5C3F071}"/>
              </a:ext>
            </a:extLst>
          </p:cNvPr>
          <p:cNvSpPr txBox="1"/>
          <p:nvPr/>
        </p:nvSpPr>
        <p:spPr>
          <a:xfrm>
            <a:off x="7207045" y="3011695"/>
            <a:ext cx="468998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</a:rPr>
              <a:t>Most consumers (72%) </a:t>
            </a:r>
          </a:p>
          <a:p>
            <a:r>
              <a:rPr lang="en-US" sz="1600" dirty="0">
                <a:solidFill>
                  <a:schemeClr val="tx2"/>
                </a:solidFill>
              </a:rPr>
              <a:t>say they prefer to have their medical and dental insurance </a:t>
            </a:r>
            <a:r>
              <a:rPr lang="en-US" sz="1600" b="1" dirty="0">
                <a:solidFill>
                  <a:schemeClr val="tx2"/>
                </a:solidFill>
              </a:rPr>
              <a:t>provided through the same insurance company</a:t>
            </a:r>
          </a:p>
          <a:p>
            <a:endParaRPr lang="en-US" sz="1600" b="1" dirty="0">
              <a:solidFill>
                <a:schemeClr val="tx2"/>
              </a:solidFill>
            </a:endParaRPr>
          </a:p>
          <a:p>
            <a:r>
              <a:rPr lang="en-US" sz="1600" dirty="0">
                <a:solidFill>
                  <a:schemeClr val="tx2"/>
                </a:solidFill>
              </a:rPr>
              <a:t>This was especially true for people of color with 77% of Black adults and 75% or Hispanic adults, compared to 68% of white adults.</a:t>
            </a:r>
          </a:p>
          <a:p>
            <a:endParaRPr lang="en-US" sz="1600" dirty="0">
              <a:solidFill>
                <a:schemeClr val="tx2"/>
              </a:solidFill>
            </a:endParaRPr>
          </a:p>
          <a:p>
            <a:r>
              <a:rPr lang="en-US" sz="1600" dirty="0">
                <a:solidFill>
                  <a:schemeClr val="tx2"/>
                </a:solidFill>
              </a:rPr>
              <a:t>People in the lowest income category (&lt;$30,000) were most likely to agree (75%) compared to those in the highest income category (&gt;$100,000) who were least likely to agree (66%)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85D90EC-3DE2-4F0D-A6E5-D812EE0D83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99217" y="877847"/>
            <a:ext cx="1777803" cy="1715241"/>
          </a:xfrm>
          <a:prstGeom prst="rect">
            <a:avLst/>
          </a:prstGeom>
        </p:spPr>
      </p:pic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6D872A9-8BB3-433C-902C-9B872E47C3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2741003"/>
              </p:ext>
            </p:extLst>
          </p:nvPr>
        </p:nvGraphicFramePr>
        <p:xfrm>
          <a:off x="5165097" y="380577"/>
          <a:ext cx="6097622" cy="3007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8159017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7D69EAC-0FB1-3D43-9BFA-41026F4675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76832" y="5465148"/>
            <a:ext cx="3886200" cy="876632"/>
          </a:xfrm>
        </p:spPr>
        <p:txBody>
          <a:bodyPr/>
          <a:lstStyle/>
          <a:p>
            <a:r>
              <a:rPr lang="en-US" sz="2100" dirty="0"/>
              <a:t>asonnek@carequest.or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4E661-EC68-E84E-98E7-1126BF22D6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7262" y="226142"/>
            <a:ext cx="6781799" cy="2343150"/>
          </a:xfrm>
        </p:spPr>
        <p:txBody>
          <a:bodyPr/>
          <a:lstStyle/>
          <a:p>
            <a:r>
              <a:rPr lang="en-US" sz="4000" dirty="0"/>
              <a:t> Find additional resources on our website: CareQuest.or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74DD0A-8962-4FD5-998D-9B1225896A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6832" y="1574527"/>
            <a:ext cx="3104536" cy="3890621"/>
          </a:xfrm>
          <a:prstGeom prst="rect">
            <a:avLst/>
          </a:prstGeom>
        </p:spPr>
      </p:pic>
      <p:pic>
        <p:nvPicPr>
          <p:cNvPr id="11" name="Picture 10" descr="Qr code&#10;&#10;Description automatically generated">
            <a:extLst>
              <a:ext uri="{FF2B5EF4-FFF2-40B4-BE49-F238E27FC236}">
                <a16:creationId xmlns:a16="http://schemas.microsoft.com/office/drawing/2014/main" id="{D8978A38-A2CE-4570-AE46-1C6EF600DE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0942" y="206366"/>
            <a:ext cx="3533467" cy="3533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4569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7622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500C25-A883-BE4D-BD87-DA6A40A09B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500C25-A883-BE4D-BD87-DA6A40A09B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62668FB-0A97-4649-A3B4-150822C074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1A42BEB-8A33-9B47-9357-5E125376C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84832"/>
            <a:ext cx="10820400" cy="966701"/>
          </a:xfrm>
        </p:spPr>
        <p:txBody>
          <a:bodyPr/>
          <a:lstStyle/>
          <a:p>
            <a:r>
              <a:rPr lang="en-US" dirty="0"/>
              <a:t>Medical-Dental Integra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EC832C-694E-914F-A829-172236CFE0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17137" y="1251533"/>
            <a:ext cx="5990303" cy="5051827"/>
          </a:xfrm>
        </p:spPr>
        <p:txBody>
          <a:bodyPr/>
          <a:lstStyle/>
          <a:p>
            <a:pPr lvl="1"/>
            <a:r>
              <a:rPr lang="en-US" dirty="0"/>
              <a:t>Approach to care that integrates dental medicine into primary care and behavioral health</a:t>
            </a:r>
          </a:p>
          <a:p>
            <a:pPr lvl="1"/>
            <a:r>
              <a:rPr lang="en-US" dirty="0"/>
              <a:t>Also promotes practice of dental providers integrating services such as screenings for chronic diseases into their care</a:t>
            </a:r>
          </a:p>
          <a:p>
            <a:pPr lvl="1"/>
            <a:r>
              <a:rPr lang="en-US" dirty="0"/>
              <a:t>Encourages providers to create </a:t>
            </a:r>
            <a:r>
              <a:rPr lang="en-US" b="1" dirty="0"/>
              <a:t>comprehensive</a:t>
            </a:r>
            <a:r>
              <a:rPr lang="en-US" dirty="0"/>
              <a:t> care plans for the </a:t>
            </a:r>
            <a:r>
              <a:rPr lang="en-US" b="1" dirty="0"/>
              <a:t>whole pers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B1F693-463A-4AE0-A738-9C55230752B2}"/>
              </a:ext>
            </a:extLst>
          </p:cNvPr>
          <p:cNvSpPr txBox="1"/>
          <p:nvPr/>
        </p:nvSpPr>
        <p:spPr>
          <a:xfrm>
            <a:off x="4793942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EDAE19-C7A1-4AAF-B9A9-F6022C5F40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163" y="1251533"/>
            <a:ext cx="5231337" cy="4326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3714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500C25-A883-BE4D-BD87-DA6A40A09B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500C25-A883-BE4D-BD87-DA6A40A09B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62668FB-0A97-4649-A3B4-150822C074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1A42BEB-8A33-9B47-9357-5E125376C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84832"/>
            <a:ext cx="10820400" cy="966701"/>
          </a:xfrm>
        </p:spPr>
        <p:txBody>
          <a:bodyPr/>
          <a:lstStyle/>
          <a:p>
            <a:r>
              <a:rPr lang="en-US" dirty="0"/>
              <a:t>State of Oral Health Equity in America (SOHEA) Surve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EC832C-694E-914F-A829-172236CFE0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903086"/>
            <a:ext cx="10820400" cy="5051827"/>
          </a:xfrm>
        </p:spPr>
        <p:txBody>
          <a:bodyPr/>
          <a:lstStyle/>
          <a:p>
            <a:r>
              <a:rPr lang="en-US" sz="2400" dirty="0"/>
              <a:t>The SOHEA survey is a nationally representative, probability-based survey of adult consumer attitudes, experiences, and behaviors on oral health.</a:t>
            </a:r>
          </a:p>
          <a:p>
            <a:pPr lvl="1"/>
            <a:r>
              <a:rPr lang="en-US" sz="2400" dirty="0"/>
              <a:t>Data was collected by the National Opinion Research Center (NORC) in two rounds, collected from January to February of both </a:t>
            </a:r>
            <a:r>
              <a:rPr lang="en-US" sz="2400" b="1" dirty="0"/>
              <a:t>2021 </a:t>
            </a:r>
            <a:r>
              <a:rPr lang="en-US" sz="2400" dirty="0"/>
              <a:t>and</a:t>
            </a:r>
            <a:r>
              <a:rPr lang="en-US" sz="2400" b="1" dirty="0"/>
              <a:t> 2022</a:t>
            </a:r>
          </a:p>
          <a:p>
            <a:pPr lvl="1"/>
            <a:r>
              <a:rPr lang="en-US" dirty="0"/>
              <a:t>Survey was conducted online and  by telephone through NORC’s </a:t>
            </a:r>
            <a:r>
              <a:rPr lang="en-US" dirty="0" err="1"/>
              <a:t>AmeriSpeak</a:t>
            </a:r>
            <a:r>
              <a:rPr lang="en-US" dirty="0"/>
              <a:t>® Panel</a:t>
            </a:r>
          </a:p>
          <a:p>
            <a:pPr lvl="1"/>
            <a:r>
              <a:rPr lang="en-US" dirty="0"/>
              <a:t>Sampling strata based on age, race/Hispanic ethnicity, education and gender</a:t>
            </a:r>
          </a:p>
          <a:p>
            <a:pPr lvl="2"/>
            <a:r>
              <a:rPr lang="en-US" dirty="0"/>
              <a:t>Additional sample of American Indian/Native Alaskan panelists in 2022</a:t>
            </a:r>
          </a:p>
          <a:p>
            <a:pPr lvl="1"/>
            <a:r>
              <a:rPr lang="en-US" dirty="0"/>
              <a:t>Limited to </a:t>
            </a:r>
            <a:r>
              <a:rPr lang="en-US" b="1" dirty="0"/>
              <a:t>adults age 18+; </a:t>
            </a:r>
            <a:r>
              <a:rPr lang="en-US" dirty="0"/>
              <a:t>one response per household</a:t>
            </a:r>
          </a:p>
          <a:p>
            <a:pPr lvl="1"/>
            <a:r>
              <a:rPr lang="en-US" dirty="0"/>
              <a:t>Sample Unit: 17603 </a:t>
            </a:r>
          </a:p>
          <a:p>
            <a:pPr lvl="2"/>
            <a:r>
              <a:rPr lang="en-US" dirty="0"/>
              <a:t>Weighted Cumulative Response rate: 4%</a:t>
            </a:r>
          </a:p>
          <a:p>
            <a:pPr lvl="2"/>
            <a:r>
              <a:rPr lang="en-US" dirty="0"/>
              <a:t>Margin of Error: ±1.75 percentage points</a:t>
            </a:r>
          </a:p>
          <a:p>
            <a:pPr lvl="1"/>
            <a:r>
              <a:rPr lang="en-US" dirty="0"/>
              <a:t>Final Sample size after exclusions:  2021 N=5,320  		2022 N=5,68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B1F693-463A-4AE0-A738-9C55230752B2}"/>
              </a:ext>
            </a:extLst>
          </p:cNvPr>
          <p:cNvSpPr txBox="1"/>
          <p:nvPr/>
        </p:nvSpPr>
        <p:spPr>
          <a:xfrm>
            <a:off x="4793942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</p:spTree>
    <p:extLst>
      <p:ext uri="{BB962C8B-B14F-4D97-AF65-F5344CB8AC3E}">
        <p14:creationId xmlns:p14="http://schemas.microsoft.com/office/powerpoint/2010/main" val="3703656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500C25-A883-BE4D-BD87-DA6A40A09B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500C25-A883-BE4D-BD87-DA6A40A09B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62668FB-0A97-4649-A3B4-150822C074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1A42BEB-8A33-9B47-9357-5E125376C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84832"/>
            <a:ext cx="10820400" cy="966701"/>
          </a:xfrm>
        </p:spPr>
        <p:txBody>
          <a:bodyPr/>
          <a:lstStyle/>
          <a:p>
            <a:r>
              <a:rPr lang="en-US" dirty="0" err="1"/>
              <a:t>DentaQuest</a:t>
            </a:r>
            <a:r>
              <a:rPr lang="en-US" dirty="0"/>
              <a:t>-Enrolled Provider Research Surve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EC832C-694E-914F-A829-172236CFE0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903086"/>
            <a:ext cx="10820400" cy="5051827"/>
          </a:xfrm>
        </p:spPr>
        <p:txBody>
          <a:bodyPr/>
          <a:lstStyle/>
          <a:p>
            <a:r>
              <a:rPr lang="en-US" sz="2400" dirty="0" err="1"/>
              <a:t>CareQuest</a:t>
            </a:r>
            <a:r>
              <a:rPr lang="en-US" sz="2400" dirty="0"/>
              <a:t> Institute for Oral Health assembled research panel of </a:t>
            </a:r>
            <a:r>
              <a:rPr lang="en-US" sz="2400" dirty="0" err="1"/>
              <a:t>DentaQuest</a:t>
            </a:r>
            <a:r>
              <a:rPr lang="en-US" dirty="0"/>
              <a:t>- enrolled providers to conduct quarterly online surve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esearch panel was sent to 22,075 providers</a:t>
            </a:r>
          </a:p>
          <a:p>
            <a:pPr marL="577850" lvl="1" indent="-342900"/>
            <a:r>
              <a:rPr lang="en-US" dirty="0"/>
              <a:t>575 agreed to participate in panel (2.5% participation rat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ligibility was assessed by age (18+), and having a high degree of familiarity with selected top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search panel substantially similar to dental population in terms of geographic distribution, specialty and gen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 Results taken from results fielded </a:t>
            </a:r>
            <a:r>
              <a:rPr lang="en-US" b="1" dirty="0"/>
              <a:t>March-April 202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377 dental providers participated</a:t>
            </a:r>
          </a:p>
          <a:p>
            <a:pPr marL="577850" lvl="1" indent="-342900"/>
            <a:r>
              <a:rPr lang="en-US" dirty="0"/>
              <a:t>Response rate of 63% of those that agreed to participate in research pan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B1F693-463A-4AE0-A738-9C55230752B2}"/>
              </a:ext>
            </a:extLst>
          </p:cNvPr>
          <p:cNvSpPr txBox="1"/>
          <p:nvPr/>
        </p:nvSpPr>
        <p:spPr>
          <a:xfrm>
            <a:off x="4793942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</p:spTree>
    <p:extLst>
      <p:ext uri="{BB962C8B-B14F-4D97-AF65-F5344CB8AC3E}">
        <p14:creationId xmlns:p14="http://schemas.microsoft.com/office/powerpoint/2010/main" val="36467684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238145"/>
            <a:ext cx="10820400" cy="966701"/>
          </a:xfrm>
        </p:spPr>
        <p:txBody>
          <a:bodyPr/>
          <a:lstStyle/>
          <a:p>
            <a:r>
              <a:rPr lang="en-US" dirty="0"/>
              <a:t>Oral Health and Overall Health are Inextricably Link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ABFE0B-B190-E644-B2F2-0CFC48DB308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66083" y="2952523"/>
            <a:ext cx="5772152" cy="4730722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Dental care still largely siloed from medical ca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CDC estimates that integrating basic health screenings into a dental setting could save health care system up to $100 million annually</a:t>
            </a:r>
            <a:r>
              <a:rPr lang="en-US" sz="2000" baseline="30000" dirty="0"/>
              <a:t>1</a:t>
            </a:r>
            <a:endParaRPr lang="en-US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Consumers and providers both expressed lack of integration and a desire for increased interprofessional collabor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8EEC0A2-BBCF-4FFD-B226-D7EE3037C0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7952" y="1108016"/>
            <a:ext cx="5144770" cy="473072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C186675-1C65-4FBD-93C6-C87A282DFDDA}"/>
              </a:ext>
            </a:extLst>
          </p:cNvPr>
          <p:cNvSpPr txBox="1"/>
          <p:nvPr/>
        </p:nvSpPr>
        <p:spPr>
          <a:xfrm>
            <a:off x="4678533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F906B18-DBE3-4704-89AF-1B43CCEC37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3794378"/>
              </p:ext>
            </p:extLst>
          </p:nvPr>
        </p:nvGraphicFramePr>
        <p:xfrm>
          <a:off x="-121948" y="1031627"/>
          <a:ext cx="3010426" cy="1920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EA5DE65A-8FFB-4306-A3A5-3F454CBD95BE}"/>
              </a:ext>
            </a:extLst>
          </p:cNvPr>
          <p:cNvSpPr txBox="1"/>
          <p:nvPr/>
        </p:nvSpPr>
        <p:spPr>
          <a:xfrm>
            <a:off x="820644" y="1681513"/>
            <a:ext cx="16561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96%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24821F3-D4FB-4B41-B638-4FA48DFF6320}"/>
              </a:ext>
            </a:extLst>
          </p:cNvPr>
          <p:cNvSpPr txBox="1">
            <a:spLocks/>
          </p:cNvSpPr>
          <p:nvPr/>
        </p:nvSpPr>
        <p:spPr>
          <a:xfrm>
            <a:off x="2316882" y="1494537"/>
            <a:ext cx="3929356" cy="47307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950" indent="-2270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375" indent="-225425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System Font Regular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5425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0750" indent="-23495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System Font Regular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of consumers acknowledge connection between health of the mouth and the rest of the bod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C38C5E-6908-4A57-8431-0334361C9D16}"/>
              </a:ext>
            </a:extLst>
          </p:cNvPr>
          <p:cNvSpPr txBox="1"/>
          <p:nvPr/>
        </p:nvSpPr>
        <p:spPr>
          <a:xfrm>
            <a:off x="2316882" y="6365558"/>
            <a:ext cx="98751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1. “Return on Investment,” Centers Disease Control and Prevention, accessed November 22, 2021, https://www.cdc.gov/oralhealth/fast-facts/roi/index.html. </a:t>
            </a:r>
          </a:p>
        </p:txBody>
      </p:sp>
    </p:spTree>
    <p:extLst>
      <p:ext uri="{BB962C8B-B14F-4D97-AF65-F5344CB8AC3E}">
        <p14:creationId xmlns:p14="http://schemas.microsoft.com/office/powerpoint/2010/main" val="7953165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4" y="208742"/>
            <a:ext cx="10908145" cy="966701"/>
          </a:xfrm>
        </p:spPr>
        <p:txBody>
          <a:bodyPr>
            <a:normAutofit fontScale="90000"/>
          </a:bodyPr>
          <a:lstStyle/>
          <a:p>
            <a:r>
              <a:rPr lang="en-US" dirty="0"/>
              <a:t>Which of the following diseases or conditions do you believe are linked to the health of your teeth, mouth, and </a:t>
            </a:r>
            <a:r>
              <a:rPr lang="en-US" dirty="0" err="1"/>
              <a:t>gums?</a:t>
            </a:r>
            <a:r>
              <a:rPr lang="en-US" sz="2200" dirty="0" err="1"/>
              <a:t>select</a:t>
            </a:r>
            <a:r>
              <a:rPr lang="en-US" sz="2200" dirty="0"/>
              <a:t> all</a:t>
            </a:r>
            <a:endParaRPr lang="en-US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71C1DFB-36F3-4FF2-B6F4-383FED474CED}"/>
              </a:ext>
            </a:extLst>
          </p:cNvPr>
          <p:cNvGraphicFramePr/>
          <p:nvPr/>
        </p:nvGraphicFramePr>
        <p:xfrm>
          <a:off x="997527" y="1258350"/>
          <a:ext cx="10510982" cy="5390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ADF3090-B48F-4770-AB88-1D0C49B66D00}"/>
              </a:ext>
            </a:extLst>
          </p:cNvPr>
          <p:cNvSpPr txBox="1"/>
          <p:nvPr/>
        </p:nvSpPr>
        <p:spPr>
          <a:xfrm>
            <a:off x="4678533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</p:spTree>
    <p:extLst>
      <p:ext uri="{BB962C8B-B14F-4D97-AF65-F5344CB8AC3E}">
        <p14:creationId xmlns:p14="http://schemas.microsoft.com/office/powerpoint/2010/main" val="29876627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5936" y="1023663"/>
            <a:ext cx="5596134" cy="1492239"/>
          </a:xfrm>
        </p:spPr>
        <p:txBody>
          <a:bodyPr>
            <a:noAutofit/>
          </a:bodyPr>
          <a:lstStyle/>
          <a:p>
            <a:r>
              <a:rPr lang="en-US" sz="2000" dirty="0"/>
              <a:t>How often has your primary </a:t>
            </a:r>
            <a:r>
              <a:rPr lang="en-US" sz="2000" b="1" dirty="0"/>
              <a:t>medical doctor </a:t>
            </a:r>
            <a:r>
              <a:rPr lang="en-US" sz="2000" dirty="0"/>
              <a:t>asked about your </a:t>
            </a:r>
            <a:r>
              <a:rPr lang="en-US" sz="2000" b="1" dirty="0"/>
              <a:t>oral health</a:t>
            </a:r>
            <a:r>
              <a:rPr lang="en-US" sz="2000" dirty="0"/>
              <a:t>?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71C1DFB-36F3-4FF2-B6F4-383FED474C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5274193"/>
              </p:ext>
            </p:extLst>
          </p:nvPr>
        </p:nvGraphicFramePr>
        <p:xfrm>
          <a:off x="6317224" y="1769783"/>
          <a:ext cx="5810865" cy="4704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8A1C1BF0-DEC8-443A-862B-CAAEB758C746}"/>
              </a:ext>
            </a:extLst>
          </p:cNvPr>
          <p:cNvSpPr txBox="1">
            <a:spLocks/>
          </p:cNvSpPr>
          <p:nvPr/>
        </p:nvSpPr>
        <p:spPr>
          <a:xfrm>
            <a:off x="689750" y="1023663"/>
            <a:ext cx="540625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/>
              <a:t>How often has your primary</a:t>
            </a:r>
            <a:r>
              <a:rPr lang="en-US" sz="2000" b="1" dirty="0"/>
              <a:t> oral health provider </a:t>
            </a:r>
            <a:r>
              <a:rPr lang="en-US" sz="2000" dirty="0"/>
              <a:t>asked about your </a:t>
            </a:r>
            <a:r>
              <a:rPr lang="en-US" sz="2000" b="1" dirty="0"/>
              <a:t>overall health</a:t>
            </a:r>
            <a:r>
              <a:rPr lang="en-US" sz="2000" dirty="0"/>
              <a:t>?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F7330C4-91B6-4A9D-87BE-21185B78EB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7640641"/>
              </p:ext>
            </p:extLst>
          </p:nvPr>
        </p:nvGraphicFramePr>
        <p:xfrm>
          <a:off x="96744" y="1774710"/>
          <a:ext cx="5810865" cy="6081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itle 5">
            <a:extLst>
              <a:ext uri="{FF2B5EF4-FFF2-40B4-BE49-F238E27FC236}">
                <a16:creationId xmlns:a16="http://schemas.microsoft.com/office/drawing/2014/main" id="{D3BB3BCB-4951-4771-A918-C02D9AFDA100}"/>
              </a:ext>
            </a:extLst>
          </p:cNvPr>
          <p:cNvSpPr txBox="1">
            <a:spLocks/>
          </p:cNvSpPr>
          <p:nvPr/>
        </p:nvSpPr>
        <p:spPr>
          <a:xfrm>
            <a:off x="381000" y="255336"/>
            <a:ext cx="10820400" cy="9667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nsumers report current lack of collabor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C732F0F-49C0-495B-9EEE-5CFB6A7D2B56}"/>
              </a:ext>
            </a:extLst>
          </p:cNvPr>
          <p:cNvSpPr txBox="1"/>
          <p:nvPr/>
        </p:nvSpPr>
        <p:spPr>
          <a:xfrm>
            <a:off x="4678533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</p:spTree>
    <p:extLst>
      <p:ext uri="{BB962C8B-B14F-4D97-AF65-F5344CB8AC3E}">
        <p14:creationId xmlns:p14="http://schemas.microsoft.com/office/powerpoint/2010/main" val="30689892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C3E3BB3-2973-4A24-A05D-2529610B477A}"/>
              </a:ext>
            </a:extLst>
          </p:cNvPr>
          <p:cNvSpPr/>
          <p:nvPr/>
        </p:nvSpPr>
        <p:spPr>
          <a:xfrm>
            <a:off x="6872749" y="674549"/>
            <a:ext cx="4945626" cy="5525729"/>
          </a:xfrm>
          <a:prstGeom prst="rect">
            <a:avLst/>
          </a:prstGeom>
          <a:solidFill>
            <a:srgbClr val="E1F0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71C1DFB-36F3-4FF2-B6F4-383FED474C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1967150"/>
              </p:ext>
            </p:extLst>
          </p:nvPr>
        </p:nvGraphicFramePr>
        <p:xfrm>
          <a:off x="617853" y="855406"/>
          <a:ext cx="5900934" cy="5525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60CE057-4AF5-4C6A-B221-2B60D052E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91200"/>
            <a:ext cx="10820400" cy="966701"/>
          </a:xfrm>
        </p:spPr>
        <p:txBody>
          <a:bodyPr/>
          <a:lstStyle/>
          <a:p>
            <a:r>
              <a:rPr lang="en-US" dirty="0"/>
              <a:t>Lack of integr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0B31B1-06BF-451D-857C-F9169A6D93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95275" y="1585038"/>
            <a:ext cx="2303769" cy="2184480"/>
          </a:xfrm>
          <a:prstGeom prst="rect">
            <a:avLst/>
          </a:prstGeom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991D7AB-EC90-49F4-9F8E-2429D5EDA4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3708365"/>
              </p:ext>
            </p:extLst>
          </p:nvPr>
        </p:nvGraphicFramePr>
        <p:xfrm>
          <a:off x="6096000" y="674550"/>
          <a:ext cx="6702321" cy="43636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0C10AEB1-B9F2-46F9-86BE-DBEC6440F2FF}"/>
              </a:ext>
            </a:extLst>
          </p:cNvPr>
          <p:cNvSpPr txBox="1"/>
          <p:nvPr/>
        </p:nvSpPr>
        <p:spPr>
          <a:xfrm>
            <a:off x="7216877" y="4509318"/>
            <a:ext cx="46014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Nearly a third (32%) </a:t>
            </a:r>
            <a:r>
              <a:rPr lang="en-US" dirty="0">
                <a:solidFill>
                  <a:schemeClr val="tx2"/>
                </a:solidFill>
              </a:rPr>
              <a:t>of people who went to the ER for dental care or pain/discomfort in the mouth </a:t>
            </a:r>
            <a:r>
              <a:rPr lang="en-US" b="1" dirty="0">
                <a:solidFill>
                  <a:schemeClr val="tx2"/>
                </a:solidFill>
              </a:rPr>
              <a:t>were NOT referred </a:t>
            </a:r>
            <a:r>
              <a:rPr lang="en-US" dirty="0">
                <a:solidFill>
                  <a:schemeClr val="tx2"/>
                </a:solidFill>
              </a:rPr>
              <a:t>to an oral health provider following their visit</a:t>
            </a:r>
          </a:p>
        </p:txBody>
      </p:sp>
    </p:spTree>
    <p:extLst>
      <p:ext uri="{BB962C8B-B14F-4D97-AF65-F5344CB8AC3E}">
        <p14:creationId xmlns:p14="http://schemas.microsoft.com/office/powerpoint/2010/main" val="2992541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C851EC-7F7A-7044-A2E6-3941BDF19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C851EC-7F7A-7044-A2E6-3941BDF19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59BED-EACE-484B-9E9A-ECCD570FD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-1524000" y="0"/>
            <a:ext cx="158750" cy="158750"/>
          </a:xfrm>
          <a:prstGeom prst="rect">
            <a:avLst/>
          </a:prstGeom>
          <a:solidFill>
            <a:srgbClr val="C3DE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2"/>
              </a:solidFill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38DC5-B5EE-7548-990C-58726992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45" y="208742"/>
            <a:ext cx="11798710" cy="966701"/>
          </a:xfrm>
        </p:spPr>
        <p:txBody>
          <a:bodyPr>
            <a:noAutofit/>
          </a:bodyPr>
          <a:lstStyle/>
          <a:p>
            <a:r>
              <a:rPr lang="en-US" sz="3600" dirty="0"/>
              <a:t>Providers also report lack of collabor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E93A38-3973-474D-988C-1F82B12CACFC}"/>
              </a:ext>
            </a:extLst>
          </p:cNvPr>
          <p:cNvSpPr txBox="1"/>
          <p:nvPr/>
        </p:nvSpPr>
        <p:spPr>
          <a:xfrm>
            <a:off x="4678533" y="6611779"/>
            <a:ext cx="68276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RESULTS ARE PRELIMINARY, NOT FOR DISTRIBUTION WITHOUT PERMISSION OF CAREQUEST INSTITU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CD42515-C8B2-41ED-A134-42391FB2D6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5799" y="848569"/>
            <a:ext cx="5167964" cy="5160861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C48BFF4-0C26-440D-A44E-DF678B13107D}"/>
              </a:ext>
            </a:extLst>
          </p:cNvPr>
          <p:cNvSpPr txBox="1">
            <a:spLocks/>
          </p:cNvSpPr>
          <p:nvPr/>
        </p:nvSpPr>
        <p:spPr>
          <a:xfrm>
            <a:off x="6201698" y="1696460"/>
            <a:ext cx="5772152" cy="473072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4950" indent="-227013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0375" indent="-225425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System Font Regular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225425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0750" indent="-23495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System Font Regular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45% of responding oral health providers report “rarely” integrating care with clinicians outside of dentist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Only 14% report that integrating their care with clinicians outside of dentistry was part of their “daily” pract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Almost a fourth (24%) of participating oral health providers report currently implementing interprofessional practi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37518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2Z7MfvGxS9aoQIdSMae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cI0vJ6Ob6SEH_.MOmP9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7L6EdDidOvGOV5d.IR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7L6EdDidOvGOV5d.IR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7L6EdDidOvGOV5d.IR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9rJbTppZRtqD.Sca7u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Q_Template_2020">
  <a:themeElements>
    <a:clrScheme name="CQ Theme v3">
      <a:dk1>
        <a:srgbClr val="000000"/>
      </a:dk1>
      <a:lt1>
        <a:srgbClr val="FFFFFF"/>
      </a:lt1>
      <a:dk2>
        <a:srgbClr val="2C378E"/>
      </a:dk2>
      <a:lt2>
        <a:srgbClr val="4F9CCF"/>
      </a:lt2>
      <a:accent1>
        <a:srgbClr val="F0B323"/>
      </a:accent1>
      <a:accent2>
        <a:srgbClr val="EA5328"/>
      </a:accent2>
      <a:accent3>
        <a:srgbClr val="4CD6CC"/>
      </a:accent3>
      <a:accent4>
        <a:srgbClr val="9A9AE2"/>
      </a:accent4>
      <a:accent5>
        <a:srgbClr val="3A913F"/>
      </a:accent5>
      <a:accent6>
        <a:srgbClr val="9CD832"/>
      </a:accent6>
      <a:hlink>
        <a:srgbClr val="2C378E"/>
      </a:hlink>
      <a:folHlink>
        <a:srgbClr val="4F9CC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EBF5"/>
        </a:solidFill>
        <a:ln>
          <a:noFill/>
        </a:ln>
        <a:effectLst/>
      </a:spPr>
      <a:bodyPr rtlCol="0" anchor="ctr"/>
      <a:lstStyle>
        <a:defPPr algn="ctr">
          <a:defRPr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areQuest Institute widescreen_rev721" id="{230C2DAB-64DC-7245-A043-55EE680C5466}" vid="{1A531F04-CB8F-554E-A439-92ADF94F2BE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3113A40E4DD944A5EA1AC1822EF105" ma:contentTypeVersion="12" ma:contentTypeDescription="Create a new document." ma:contentTypeScope="" ma:versionID="5eef9a69a6f1eb20b9dfa3465ac4c5ae">
  <xsd:schema xmlns:xsd="http://www.w3.org/2001/XMLSchema" xmlns:xs="http://www.w3.org/2001/XMLSchema" xmlns:p="http://schemas.microsoft.com/office/2006/metadata/properties" xmlns:ns2="c462c9b7-ca3f-4532-bf22-4fe0bbe66900" xmlns:ns3="92d6da9c-605f-492b-898c-3196e57d81b5" targetNamespace="http://schemas.microsoft.com/office/2006/metadata/properties" ma:root="true" ma:fieldsID="76374228d955e878740c66b1cf76a730" ns2:_="" ns3:_="">
    <xsd:import namespace="c462c9b7-ca3f-4532-bf22-4fe0bbe66900"/>
    <xsd:import namespace="92d6da9c-605f-492b-898c-3196e57d81b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62c9b7-ca3f-4532-bf22-4fe0bbe669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d6da9c-605f-492b-898c-3196e57d81b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CD374D-EF73-43C2-916D-90265CDA9E96}"/>
</file>

<file path=customXml/itemProps2.xml><?xml version="1.0" encoding="utf-8"?>
<ds:datastoreItem xmlns:ds="http://schemas.openxmlformats.org/officeDocument/2006/customXml" ds:itemID="{839BC863-2D51-4A22-8F14-DB6BE3F48233}"/>
</file>

<file path=customXml/itemProps3.xml><?xml version="1.0" encoding="utf-8"?>
<ds:datastoreItem xmlns:ds="http://schemas.openxmlformats.org/officeDocument/2006/customXml" ds:itemID="{A8CC05BF-891C-4BEA-BD05-CFD592CC3F9F}"/>
</file>

<file path=docProps/app.xml><?xml version="1.0" encoding="utf-8"?>
<Properties xmlns="http://schemas.openxmlformats.org/officeDocument/2006/extended-properties" xmlns:vt="http://schemas.openxmlformats.org/officeDocument/2006/docPropsVTypes">
  <TotalTime>3127</TotalTime>
  <Words>1131</Words>
  <Application>Microsoft Office PowerPoint</Application>
  <PresentationFormat>Widescreen</PresentationFormat>
  <Paragraphs>102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System Font Regular</vt:lpstr>
      <vt:lpstr>CQ_Template_2020</vt:lpstr>
      <vt:lpstr>think-cell Slide</vt:lpstr>
      <vt:lpstr>Oral Health Integration Attitudes on Medical-Dental Collaboration</vt:lpstr>
      <vt:lpstr>Medical-Dental Integration</vt:lpstr>
      <vt:lpstr>State of Oral Health Equity in America (SOHEA) Survey</vt:lpstr>
      <vt:lpstr>DentaQuest-Enrolled Provider Research Survey</vt:lpstr>
      <vt:lpstr>Oral Health and Overall Health are Inextricably Linked</vt:lpstr>
      <vt:lpstr>Which of the following diseases or conditions do you believe are linked to the health of your teeth, mouth, and gums?select all</vt:lpstr>
      <vt:lpstr>How often has your primary medical doctor asked about your oral health?</vt:lpstr>
      <vt:lpstr>Lack of integration</vt:lpstr>
      <vt:lpstr>Providers also report lack of collaboration</vt:lpstr>
      <vt:lpstr>Health screenings in dental offices are an underutilized opportunity for preventive care</vt:lpstr>
      <vt:lpstr>PowerPoint Presentation</vt:lpstr>
      <vt:lpstr>Oral health providers need tools to perform health screenings</vt:lpstr>
      <vt:lpstr>Dental Offices are an untapped resource for vaccine distribution</vt:lpstr>
      <vt:lpstr>Co-location of dental and medical services is desired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al Healthcare Inequities: Nationally Representative Trends from COVID-19 </dc:title>
  <dc:creator>Sonnek, Adrianna</dc:creator>
  <cp:lastModifiedBy>Sonnek, Adrianna</cp:lastModifiedBy>
  <cp:revision>13</cp:revision>
  <dcterms:created xsi:type="dcterms:W3CDTF">2022-03-25T10:31:43Z</dcterms:created>
  <dcterms:modified xsi:type="dcterms:W3CDTF">2022-04-01T17:2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3113A40E4DD944A5EA1AC1822EF105</vt:lpwstr>
  </property>
</Properties>
</file>